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1" r:id="rId2"/>
  </p:sldMasterIdLst>
  <p:notesMasterIdLst>
    <p:notesMasterId r:id="rId14"/>
  </p:notesMasterIdLst>
  <p:sldIdLst>
    <p:sldId id="364" r:id="rId3"/>
    <p:sldId id="289" r:id="rId4"/>
    <p:sldId id="1200" r:id="rId5"/>
    <p:sldId id="1208" r:id="rId6"/>
    <p:sldId id="365" r:id="rId7"/>
    <p:sldId id="1202" r:id="rId8"/>
    <p:sldId id="2134806466" r:id="rId9"/>
    <p:sldId id="266" r:id="rId10"/>
    <p:sldId id="271" r:id="rId11"/>
    <p:sldId id="1205" r:id="rId12"/>
    <p:sldId id="406" r:id="rId13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B1A5F80-5638-4F59-86CC-307DBEC0FD7F}" v="42" dt="2020-08-28T09:26:04.08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00" autoAdjust="0"/>
    <p:restoredTop sz="77799" autoAdjust="0"/>
  </p:normalViewPr>
  <p:slideViewPr>
    <p:cSldViewPr snapToGrid="0">
      <p:cViewPr varScale="1">
        <p:scale>
          <a:sx n="94" d="100"/>
          <a:sy n="94" d="100"/>
        </p:scale>
        <p:origin x="942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engen, Harald Eikenæs" userId="f895383f-f5c1-4e9c-9f1e-03680bb53957" providerId="ADAL" clId="{DB1A5F80-5638-4F59-86CC-307DBEC0FD7F}"/>
    <pc:docChg chg="undo redo custSel mod addSld delSld modSld sldOrd modMainMaster">
      <pc:chgData name="Vengen, Harald Eikenæs" userId="f895383f-f5c1-4e9c-9f1e-03680bb53957" providerId="ADAL" clId="{DB1A5F80-5638-4F59-86CC-307DBEC0FD7F}" dt="2020-08-28T09:29:55.691" v="3082" actId="1076"/>
      <pc:docMkLst>
        <pc:docMk/>
      </pc:docMkLst>
      <pc:sldChg chg="modSp add del mod">
        <pc:chgData name="Vengen, Harald Eikenæs" userId="f895383f-f5c1-4e9c-9f1e-03680bb53957" providerId="ADAL" clId="{DB1A5F80-5638-4F59-86CC-307DBEC0FD7F}" dt="2020-08-28T07:45:50.912" v="3051" actId="47"/>
        <pc:sldMkLst>
          <pc:docMk/>
          <pc:sldMk cId="3355993834" sldId="265"/>
        </pc:sldMkLst>
        <pc:spChg chg="mod">
          <ac:chgData name="Vengen, Harald Eikenæs" userId="f895383f-f5c1-4e9c-9f1e-03680bb53957" providerId="ADAL" clId="{DB1A5F80-5638-4F59-86CC-307DBEC0FD7F}" dt="2020-08-26T13:47:55.958" v="2891" actId="20577"/>
          <ac:spMkLst>
            <pc:docMk/>
            <pc:sldMk cId="3355993834" sldId="265"/>
            <ac:spMk id="2" creationId="{B2E58D48-EEAC-B746-BD07-FAC3DBE1A9E3}"/>
          </ac:spMkLst>
        </pc:spChg>
      </pc:sldChg>
      <pc:sldChg chg="add">
        <pc:chgData name="Vengen, Harald Eikenæs" userId="f895383f-f5c1-4e9c-9f1e-03680bb53957" providerId="ADAL" clId="{DB1A5F80-5638-4F59-86CC-307DBEC0FD7F}" dt="2020-08-28T07:46:03.410" v="3052"/>
        <pc:sldMkLst>
          <pc:docMk/>
          <pc:sldMk cId="3071634570" sldId="266"/>
        </pc:sldMkLst>
      </pc:sldChg>
      <pc:sldChg chg="add">
        <pc:chgData name="Vengen, Harald Eikenæs" userId="f895383f-f5c1-4e9c-9f1e-03680bb53957" providerId="ADAL" clId="{DB1A5F80-5638-4F59-86CC-307DBEC0FD7F}" dt="2020-08-28T07:46:03.410" v="3052"/>
        <pc:sldMkLst>
          <pc:docMk/>
          <pc:sldMk cId="2559181962" sldId="271"/>
        </pc:sldMkLst>
      </pc:sldChg>
      <pc:sldChg chg="delSp del mod modNotesTx">
        <pc:chgData name="Vengen, Harald Eikenæs" userId="f895383f-f5c1-4e9c-9f1e-03680bb53957" providerId="ADAL" clId="{DB1A5F80-5638-4F59-86CC-307DBEC0FD7F}" dt="2020-08-26T13:41:28.102" v="2868" actId="47"/>
        <pc:sldMkLst>
          <pc:docMk/>
          <pc:sldMk cId="245779256" sldId="288"/>
        </pc:sldMkLst>
        <pc:spChg chg="del">
          <ac:chgData name="Vengen, Harald Eikenæs" userId="f895383f-f5c1-4e9c-9f1e-03680bb53957" providerId="ADAL" clId="{DB1A5F80-5638-4F59-86CC-307DBEC0FD7F}" dt="2020-08-26T13:41:22" v="2866" actId="21"/>
          <ac:spMkLst>
            <pc:docMk/>
            <pc:sldMk cId="245779256" sldId="288"/>
            <ac:spMk id="4" creationId="{00000000-0000-0000-0000-000000000000}"/>
          </ac:spMkLst>
        </pc:spChg>
      </pc:sldChg>
      <pc:sldChg chg="addSp add mod">
        <pc:chgData name="Vengen, Harald Eikenæs" userId="f895383f-f5c1-4e9c-9f1e-03680bb53957" providerId="ADAL" clId="{DB1A5F80-5638-4F59-86CC-307DBEC0FD7F}" dt="2020-08-26T13:41:24.191" v="2867" actId="22"/>
        <pc:sldMkLst>
          <pc:docMk/>
          <pc:sldMk cId="1972969577" sldId="289"/>
        </pc:sldMkLst>
        <pc:spChg chg="add">
          <ac:chgData name="Vengen, Harald Eikenæs" userId="f895383f-f5c1-4e9c-9f1e-03680bb53957" providerId="ADAL" clId="{DB1A5F80-5638-4F59-86CC-307DBEC0FD7F}" dt="2020-08-26T13:41:24.191" v="2867" actId="22"/>
          <ac:spMkLst>
            <pc:docMk/>
            <pc:sldMk cId="1972969577" sldId="289"/>
            <ac:spMk id="3" creationId="{0B5ECC63-2B38-4EC0-A524-FDF00C49304D}"/>
          </ac:spMkLst>
        </pc:spChg>
      </pc:sldChg>
      <pc:sldChg chg="modSp mod">
        <pc:chgData name="Vengen, Harald Eikenæs" userId="f895383f-f5c1-4e9c-9f1e-03680bb53957" providerId="ADAL" clId="{DB1A5F80-5638-4F59-86CC-307DBEC0FD7F}" dt="2020-08-28T09:29:55.691" v="3082" actId="1076"/>
        <pc:sldMkLst>
          <pc:docMk/>
          <pc:sldMk cId="3177586268" sldId="364"/>
        </pc:sldMkLst>
        <pc:spChg chg="mod">
          <ac:chgData name="Vengen, Harald Eikenæs" userId="f895383f-f5c1-4e9c-9f1e-03680bb53957" providerId="ADAL" clId="{DB1A5F80-5638-4F59-86CC-307DBEC0FD7F}" dt="2020-08-28T09:29:55.691" v="3082" actId="1076"/>
          <ac:spMkLst>
            <pc:docMk/>
            <pc:sldMk cId="3177586268" sldId="364"/>
            <ac:spMk id="3" creationId="{00000000-0000-0000-0000-000000000000}"/>
          </ac:spMkLst>
        </pc:spChg>
        <pc:spChg chg="mod">
          <ac:chgData name="Vengen, Harald Eikenæs" userId="f895383f-f5c1-4e9c-9f1e-03680bb53957" providerId="ADAL" clId="{DB1A5F80-5638-4F59-86CC-307DBEC0FD7F}" dt="2020-08-28T09:29:46.452" v="3081" actId="1076"/>
          <ac:spMkLst>
            <pc:docMk/>
            <pc:sldMk cId="3177586268" sldId="364"/>
            <ac:spMk id="4" creationId="{00000000-0000-0000-0000-000000000000}"/>
          </ac:spMkLst>
        </pc:spChg>
      </pc:sldChg>
      <pc:sldChg chg="addSp delSp modSp new mod ord modClrScheme chgLayout modNotesTx">
        <pc:chgData name="Vengen, Harald Eikenæs" userId="f895383f-f5c1-4e9c-9f1e-03680bb53957" providerId="ADAL" clId="{DB1A5F80-5638-4F59-86CC-307DBEC0FD7F}" dt="2020-08-28T09:26:43.612" v="3078" actId="166"/>
        <pc:sldMkLst>
          <pc:docMk/>
          <pc:sldMk cId="132152154" sldId="365"/>
        </pc:sldMkLst>
        <pc:spChg chg="del mod ord">
          <ac:chgData name="Vengen, Harald Eikenæs" userId="f895383f-f5c1-4e9c-9f1e-03680bb53957" providerId="ADAL" clId="{DB1A5F80-5638-4F59-86CC-307DBEC0FD7F}" dt="2020-08-24T19:36:05.995" v="1" actId="700"/>
          <ac:spMkLst>
            <pc:docMk/>
            <pc:sldMk cId="132152154" sldId="365"/>
            <ac:spMk id="2" creationId="{DD5E9614-F6E1-4176-BBAA-BC87EB4F65C5}"/>
          </ac:spMkLst>
        </pc:spChg>
        <pc:spChg chg="add mod">
          <ac:chgData name="Vengen, Harald Eikenæs" userId="f895383f-f5c1-4e9c-9f1e-03680bb53957" providerId="ADAL" clId="{DB1A5F80-5638-4F59-86CC-307DBEC0FD7F}" dt="2020-08-26T09:14:57.085" v="2848" actId="255"/>
          <ac:spMkLst>
            <pc:docMk/>
            <pc:sldMk cId="132152154" sldId="365"/>
            <ac:spMk id="2" creationId="{E695941C-06FE-4F7A-8C3B-F57FD4BAFB32}"/>
          </ac:spMkLst>
        </pc:spChg>
        <pc:spChg chg="add mod ord">
          <ac:chgData name="Vengen, Harald Eikenæs" userId="f895383f-f5c1-4e9c-9f1e-03680bb53957" providerId="ADAL" clId="{DB1A5F80-5638-4F59-86CC-307DBEC0FD7F}" dt="2020-08-26T09:14:27.526" v="2830" actId="20577"/>
          <ac:spMkLst>
            <pc:docMk/>
            <pc:sldMk cId="132152154" sldId="365"/>
            <ac:spMk id="3" creationId="{5C234497-4439-48AB-81D1-252D6CC548A9}"/>
          </ac:spMkLst>
        </pc:spChg>
        <pc:spChg chg="add mod ord">
          <ac:chgData name="Vengen, Harald Eikenæs" userId="f895383f-f5c1-4e9c-9f1e-03680bb53957" providerId="ADAL" clId="{DB1A5F80-5638-4F59-86CC-307DBEC0FD7F}" dt="2020-08-24T19:36:05.995" v="1" actId="700"/>
          <ac:spMkLst>
            <pc:docMk/>
            <pc:sldMk cId="132152154" sldId="365"/>
            <ac:spMk id="4" creationId="{9056E898-C880-483D-ABEB-6F70AC69F38E}"/>
          </ac:spMkLst>
        </pc:spChg>
        <pc:picChg chg="add mod ord">
          <ac:chgData name="Vengen, Harald Eikenæs" userId="f895383f-f5c1-4e9c-9f1e-03680bb53957" providerId="ADAL" clId="{DB1A5F80-5638-4F59-86CC-307DBEC0FD7F}" dt="2020-08-28T09:26:43.612" v="3078" actId="166"/>
          <ac:picMkLst>
            <pc:docMk/>
            <pc:sldMk cId="132152154" sldId="365"/>
            <ac:picMk id="5" creationId="{D061E559-188F-4749-9261-6EE085988552}"/>
          </ac:picMkLst>
        </pc:picChg>
        <pc:picChg chg="add del mod">
          <ac:chgData name="Vengen, Harald Eikenæs" userId="f895383f-f5c1-4e9c-9f1e-03680bb53957" providerId="ADAL" clId="{DB1A5F80-5638-4F59-86CC-307DBEC0FD7F}" dt="2020-08-25T07:49:56.443" v="507" actId="478"/>
          <ac:picMkLst>
            <pc:docMk/>
            <pc:sldMk cId="132152154" sldId="365"/>
            <ac:picMk id="6" creationId="{8C0AC856-E82C-4634-B066-E0B69322651B}"/>
          </ac:picMkLst>
        </pc:picChg>
      </pc:sldChg>
      <pc:sldChg chg="add modNotesTx">
        <pc:chgData name="Vengen, Harald Eikenæs" userId="f895383f-f5c1-4e9c-9f1e-03680bb53957" providerId="ADAL" clId="{DB1A5F80-5638-4F59-86CC-307DBEC0FD7F}" dt="2020-08-28T09:29:33.552" v="3080" actId="6549"/>
        <pc:sldMkLst>
          <pc:docMk/>
          <pc:sldMk cId="2609722131" sldId="406"/>
        </pc:sldMkLst>
      </pc:sldChg>
      <pc:sldChg chg="add modNotesTx">
        <pc:chgData name="Vengen, Harald Eikenæs" userId="f895383f-f5c1-4e9c-9f1e-03680bb53957" providerId="ADAL" clId="{DB1A5F80-5638-4F59-86CC-307DBEC0FD7F}" dt="2020-08-25T12:34:14.977" v="2541" actId="6549"/>
        <pc:sldMkLst>
          <pc:docMk/>
          <pc:sldMk cId="2062280648" sldId="1200"/>
        </pc:sldMkLst>
      </pc:sldChg>
      <pc:sldChg chg="modSp new del mod modNotesTx">
        <pc:chgData name="Vengen, Harald Eikenæs" userId="f895383f-f5c1-4e9c-9f1e-03680bb53957" providerId="ADAL" clId="{DB1A5F80-5638-4F59-86CC-307DBEC0FD7F}" dt="2020-08-26T13:46:52.798" v="2871" actId="47"/>
        <pc:sldMkLst>
          <pc:docMk/>
          <pc:sldMk cId="904831706" sldId="1201"/>
        </pc:sldMkLst>
        <pc:spChg chg="mod">
          <ac:chgData name="Vengen, Harald Eikenæs" userId="f895383f-f5c1-4e9c-9f1e-03680bb53957" providerId="ADAL" clId="{DB1A5F80-5638-4F59-86CC-307DBEC0FD7F}" dt="2020-08-24T19:50:07.955" v="302" actId="20577"/>
          <ac:spMkLst>
            <pc:docMk/>
            <pc:sldMk cId="904831706" sldId="1201"/>
            <ac:spMk id="2" creationId="{124851A3-0635-44D1-ACE5-D65CBE5E9017}"/>
          </ac:spMkLst>
        </pc:spChg>
      </pc:sldChg>
      <pc:sldChg chg="addSp delSp modSp new mod modNotesTx">
        <pc:chgData name="Vengen, Harald Eikenæs" userId="f895383f-f5c1-4e9c-9f1e-03680bb53957" providerId="ADAL" clId="{DB1A5F80-5638-4F59-86CC-307DBEC0FD7F}" dt="2020-08-27T08:29:50.318" v="2957" actId="1076"/>
        <pc:sldMkLst>
          <pc:docMk/>
          <pc:sldMk cId="1331929978" sldId="1202"/>
        </pc:sldMkLst>
        <pc:spChg chg="del mod">
          <ac:chgData name="Vengen, Harald Eikenæs" userId="f895383f-f5c1-4e9c-9f1e-03680bb53957" providerId="ADAL" clId="{DB1A5F80-5638-4F59-86CC-307DBEC0FD7F}" dt="2020-08-25T08:34:12.557" v="1386" actId="478"/>
          <ac:spMkLst>
            <pc:docMk/>
            <pc:sldMk cId="1331929978" sldId="1202"/>
            <ac:spMk id="2" creationId="{22BA7F96-0788-438A-9F6C-07A9A5161E15}"/>
          </ac:spMkLst>
        </pc:spChg>
        <pc:spChg chg="del mod">
          <ac:chgData name="Vengen, Harald Eikenæs" userId="f895383f-f5c1-4e9c-9f1e-03680bb53957" providerId="ADAL" clId="{DB1A5F80-5638-4F59-86CC-307DBEC0FD7F}" dt="2020-08-25T08:33:32.969" v="1381" actId="478"/>
          <ac:spMkLst>
            <pc:docMk/>
            <pc:sldMk cId="1331929978" sldId="1202"/>
            <ac:spMk id="3" creationId="{FC40FAA1-0E09-43BF-9736-E8FC3D52B0B6}"/>
          </ac:spMkLst>
        </pc:spChg>
        <pc:spChg chg="add mod">
          <ac:chgData name="Vengen, Harald Eikenæs" userId="f895383f-f5c1-4e9c-9f1e-03680bb53957" providerId="ADAL" clId="{DB1A5F80-5638-4F59-86CC-307DBEC0FD7F}" dt="2020-08-27T08:29:50.318" v="2957" actId="1076"/>
          <ac:spMkLst>
            <pc:docMk/>
            <pc:sldMk cId="1331929978" sldId="1202"/>
            <ac:spMk id="4" creationId="{9F22FC67-9A90-4F4B-B33B-F1F14C70428D}"/>
          </ac:spMkLst>
        </pc:spChg>
        <pc:spChg chg="add del mod">
          <ac:chgData name="Vengen, Harald Eikenæs" userId="f895383f-f5c1-4e9c-9f1e-03680bb53957" providerId="ADAL" clId="{DB1A5F80-5638-4F59-86CC-307DBEC0FD7F}" dt="2020-08-27T08:29:26.148" v="2953" actId="478"/>
          <ac:spMkLst>
            <pc:docMk/>
            <pc:sldMk cId="1331929978" sldId="1202"/>
            <ac:spMk id="7" creationId="{B1196C0B-1F17-42DA-8410-E6AE6FAD4244}"/>
          </ac:spMkLst>
        </pc:spChg>
        <pc:spChg chg="add del mod">
          <ac:chgData name="Vengen, Harald Eikenæs" userId="f895383f-f5c1-4e9c-9f1e-03680bb53957" providerId="ADAL" clId="{DB1A5F80-5638-4F59-86CC-307DBEC0FD7F}" dt="2020-08-25T08:34:24.616" v="1391" actId="478"/>
          <ac:spMkLst>
            <pc:docMk/>
            <pc:sldMk cId="1331929978" sldId="1202"/>
            <ac:spMk id="9" creationId="{03285AA0-306F-490F-994C-32DAD8418211}"/>
          </ac:spMkLst>
        </pc:spChg>
        <pc:picChg chg="add del mod ord">
          <ac:chgData name="Vengen, Harald Eikenæs" userId="f895383f-f5c1-4e9c-9f1e-03680bb53957" providerId="ADAL" clId="{DB1A5F80-5638-4F59-86CC-307DBEC0FD7F}" dt="2020-08-27T08:29:41.116" v="2956" actId="1076"/>
          <ac:picMkLst>
            <pc:docMk/>
            <pc:sldMk cId="1331929978" sldId="1202"/>
            <ac:picMk id="5" creationId="{D100A949-CDB8-40C1-9FDD-11A2E1A4AE88}"/>
          </ac:picMkLst>
        </pc:picChg>
      </pc:sldChg>
      <pc:sldChg chg="addSp delSp modSp new del mod modNotesTx">
        <pc:chgData name="Vengen, Harald Eikenæs" userId="f895383f-f5c1-4e9c-9f1e-03680bb53957" providerId="ADAL" clId="{DB1A5F80-5638-4F59-86CC-307DBEC0FD7F}" dt="2020-08-28T07:51:04.478" v="3055" actId="47"/>
        <pc:sldMkLst>
          <pc:docMk/>
          <pc:sldMk cId="3882206536" sldId="1203"/>
        </pc:sldMkLst>
        <pc:spChg chg="del mod">
          <ac:chgData name="Vengen, Harald Eikenæs" userId="f895383f-f5c1-4e9c-9f1e-03680bb53957" providerId="ADAL" clId="{DB1A5F80-5638-4F59-86CC-307DBEC0FD7F}" dt="2020-08-25T19:16:11.807" v="2573" actId="478"/>
          <ac:spMkLst>
            <pc:docMk/>
            <pc:sldMk cId="3882206536" sldId="1203"/>
            <ac:spMk id="2" creationId="{CAB1E8A8-1BBD-45A6-B7CA-B7FFC0523B59}"/>
          </ac:spMkLst>
        </pc:spChg>
        <pc:spChg chg="mod">
          <ac:chgData name="Vengen, Harald Eikenæs" userId="f895383f-f5c1-4e9c-9f1e-03680bb53957" providerId="ADAL" clId="{DB1A5F80-5638-4F59-86CC-307DBEC0FD7F}" dt="2020-08-26T13:46:43.998" v="2870" actId="1076"/>
          <ac:spMkLst>
            <pc:docMk/>
            <pc:sldMk cId="3882206536" sldId="1203"/>
            <ac:spMk id="3" creationId="{36D6D946-33DA-40A9-B5A2-FEA5F3CFDFD8}"/>
          </ac:spMkLst>
        </pc:spChg>
        <pc:spChg chg="add mod">
          <ac:chgData name="Vengen, Harald Eikenæs" userId="f895383f-f5c1-4e9c-9f1e-03680bb53957" providerId="ADAL" clId="{DB1A5F80-5638-4F59-86CC-307DBEC0FD7F}" dt="2020-08-26T09:10:09.526" v="2805" actId="1076"/>
          <ac:spMkLst>
            <pc:docMk/>
            <pc:sldMk cId="3882206536" sldId="1203"/>
            <ac:spMk id="7" creationId="{7DD33A77-974D-4223-8D56-9228C21F47FC}"/>
          </ac:spMkLst>
        </pc:spChg>
        <pc:picChg chg="add del">
          <ac:chgData name="Vengen, Harald Eikenæs" userId="f895383f-f5c1-4e9c-9f1e-03680bb53957" providerId="ADAL" clId="{DB1A5F80-5638-4F59-86CC-307DBEC0FD7F}" dt="2020-08-25T19:16:07.110" v="2572" actId="478"/>
          <ac:picMkLst>
            <pc:docMk/>
            <pc:sldMk cId="3882206536" sldId="1203"/>
            <ac:picMk id="5" creationId="{2101E18B-1692-49DF-B348-2D100250A7B7}"/>
          </ac:picMkLst>
        </pc:picChg>
        <pc:picChg chg="add mod ord">
          <ac:chgData name="Vengen, Harald Eikenæs" userId="f895383f-f5c1-4e9c-9f1e-03680bb53957" providerId="ADAL" clId="{DB1A5F80-5638-4F59-86CC-307DBEC0FD7F}" dt="2020-08-25T19:31:58.581" v="2577" actId="167"/>
          <ac:picMkLst>
            <pc:docMk/>
            <pc:sldMk cId="3882206536" sldId="1203"/>
            <ac:picMk id="9" creationId="{79C43EA0-5942-4BE7-8E7F-1A12FB1926FF}"/>
          </ac:picMkLst>
        </pc:picChg>
        <pc:picChg chg="add del mod">
          <ac:chgData name="Vengen, Harald Eikenæs" userId="f895383f-f5c1-4e9c-9f1e-03680bb53957" providerId="ADAL" clId="{DB1A5F80-5638-4F59-86CC-307DBEC0FD7F}" dt="2020-08-26T13:46:29.989" v="2869" actId="478"/>
          <ac:picMkLst>
            <pc:docMk/>
            <pc:sldMk cId="3882206536" sldId="1203"/>
            <ac:picMk id="11" creationId="{509E7341-C2F3-4889-94E2-F78821E63C17}"/>
          </ac:picMkLst>
        </pc:picChg>
      </pc:sldChg>
      <pc:sldChg chg="addSp delSp modSp new del mod modNotesTx">
        <pc:chgData name="Vengen, Harald Eikenæs" userId="f895383f-f5c1-4e9c-9f1e-03680bb53957" providerId="ADAL" clId="{DB1A5F80-5638-4F59-86CC-307DBEC0FD7F}" dt="2020-08-26T13:55:27.382" v="2892" actId="47"/>
        <pc:sldMkLst>
          <pc:docMk/>
          <pc:sldMk cId="133170561" sldId="1204"/>
        </pc:sldMkLst>
        <pc:spChg chg="mod">
          <ac:chgData name="Vengen, Harald Eikenæs" userId="f895383f-f5c1-4e9c-9f1e-03680bb53957" providerId="ADAL" clId="{DB1A5F80-5638-4F59-86CC-307DBEC0FD7F}" dt="2020-08-26T09:02:20.968" v="2733" actId="14100"/>
          <ac:spMkLst>
            <pc:docMk/>
            <pc:sldMk cId="133170561" sldId="1204"/>
            <ac:spMk id="2" creationId="{AAB15EE2-08A2-4260-BDEC-25F4FB5AA64C}"/>
          </ac:spMkLst>
        </pc:spChg>
        <pc:spChg chg="del">
          <ac:chgData name="Vengen, Harald Eikenæs" userId="f895383f-f5c1-4e9c-9f1e-03680bb53957" providerId="ADAL" clId="{DB1A5F80-5638-4F59-86CC-307DBEC0FD7F}" dt="2020-08-26T09:01:21.009" v="2658" actId="478"/>
          <ac:spMkLst>
            <pc:docMk/>
            <pc:sldMk cId="133170561" sldId="1204"/>
            <ac:spMk id="3" creationId="{483AA1CF-6F15-4948-A018-95191FEAAD1E}"/>
          </ac:spMkLst>
        </pc:spChg>
        <pc:spChg chg="add mod">
          <ac:chgData name="Vengen, Harald Eikenæs" userId="f895383f-f5c1-4e9c-9f1e-03680bb53957" providerId="ADAL" clId="{DB1A5F80-5638-4F59-86CC-307DBEC0FD7F}" dt="2020-08-26T09:04:28.871" v="2796" actId="255"/>
          <ac:spMkLst>
            <pc:docMk/>
            <pc:sldMk cId="133170561" sldId="1204"/>
            <ac:spMk id="6" creationId="{F4F45BAD-EE7A-425D-9F69-404ED4B4FCBC}"/>
          </ac:spMkLst>
        </pc:spChg>
        <pc:picChg chg="add del mod ord">
          <ac:chgData name="Vengen, Harald Eikenæs" userId="f895383f-f5c1-4e9c-9f1e-03680bb53957" providerId="ADAL" clId="{DB1A5F80-5638-4F59-86CC-307DBEC0FD7F}" dt="2020-08-26T09:01:34.738" v="2661" actId="14100"/>
          <ac:picMkLst>
            <pc:docMk/>
            <pc:sldMk cId="133170561" sldId="1204"/>
            <ac:picMk id="5" creationId="{50B58D26-9FA7-4561-993A-D80D18B659AB}"/>
          </ac:picMkLst>
        </pc:picChg>
      </pc:sldChg>
      <pc:sldChg chg="addSp delSp modSp new mod">
        <pc:chgData name="Vengen, Harald Eikenæs" userId="f895383f-f5c1-4e9c-9f1e-03680bb53957" providerId="ADAL" clId="{DB1A5F80-5638-4F59-86CC-307DBEC0FD7F}" dt="2020-08-26T09:05:57.560" v="2803" actId="20577"/>
        <pc:sldMkLst>
          <pc:docMk/>
          <pc:sldMk cId="1132622851" sldId="1205"/>
        </pc:sldMkLst>
        <pc:spChg chg="add mod">
          <ac:chgData name="Vengen, Harald Eikenæs" userId="f895383f-f5c1-4e9c-9f1e-03680bb53957" providerId="ADAL" clId="{DB1A5F80-5638-4F59-86CC-307DBEC0FD7F}" dt="2020-08-26T09:05:57.560" v="2803" actId="20577"/>
          <ac:spMkLst>
            <pc:docMk/>
            <pc:sldMk cId="1132622851" sldId="1205"/>
            <ac:spMk id="10" creationId="{D717A66B-F30B-4A27-97EF-E6D2D6C31B4B}"/>
          </ac:spMkLst>
        </pc:spChg>
        <pc:picChg chg="add del mod">
          <ac:chgData name="Vengen, Harald Eikenæs" userId="f895383f-f5c1-4e9c-9f1e-03680bb53957" providerId="ADAL" clId="{DB1A5F80-5638-4F59-86CC-307DBEC0FD7F}" dt="2020-08-26T09:00:10.793" v="2653" actId="931"/>
          <ac:picMkLst>
            <pc:docMk/>
            <pc:sldMk cId="1132622851" sldId="1205"/>
            <ac:picMk id="5" creationId="{0EF162B1-D0F7-476A-821B-CD23412E4141}"/>
          </ac:picMkLst>
        </pc:picChg>
        <pc:picChg chg="add del mod">
          <ac:chgData name="Vengen, Harald Eikenæs" userId="f895383f-f5c1-4e9c-9f1e-03680bb53957" providerId="ADAL" clId="{DB1A5F80-5638-4F59-86CC-307DBEC0FD7F}" dt="2020-08-26T09:00:10.793" v="2653" actId="931"/>
          <ac:picMkLst>
            <pc:docMk/>
            <pc:sldMk cId="1132622851" sldId="1205"/>
            <ac:picMk id="7" creationId="{34A60FB6-6F5E-42B5-BD45-48DE6BE0DD55}"/>
          </ac:picMkLst>
        </pc:picChg>
        <pc:picChg chg="add mod">
          <ac:chgData name="Vengen, Harald Eikenæs" userId="f895383f-f5c1-4e9c-9f1e-03680bb53957" providerId="ADAL" clId="{DB1A5F80-5638-4F59-86CC-307DBEC0FD7F}" dt="2020-08-26T09:02:51.352" v="2745" actId="14100"/>
          <ac:picMkLst>
            <pc:docMk/>
            <pc:sldMk cId="1132622851" sldId="1205"/>
            <ac:picMk id="9" creationId="{4A15E917-2628-4667-AADF-0F73953F4FFA}"/>
          </ac:picMkLst>
        </pc:picChg>
      </pc:sldChg>
      <pc:sldChg chg="new del">
        <pc:chgData name="Vengen, Harald Eikenæs" userId="f895383f-f5c1-4e9c-9f1e-03680bb53957" providerId="ADAL" clId="{DB1A5F80-5638-4F59-86CC-307DBEC0FD7F}" dt="2020-08-25T11:56:14.048" v="2161" actId="47"/>
        <pc:sldMkLst>
          <pc:docMk/>
          <pc:sldMk cId="2218214903" sldId="1205"/>
        </pc:sldMkLst>
      </pc:sldChg>
      <pc:sldChg chg="modSp new del mod">
        <pc:chgData name="Vengen, Harald Eikenæs" userId="f895383f-f5c1-4e9c-9f1e-03680bb53957" providerId="ADAL" clId="{DB1A5F80-5638-4F59-86CC-307DBEC0FD7F}" dt="2020-08-28T07:46:15.255" v="3053" actId="47"/>
        <pc:sldMkLst>
          <pc:docMk/>
          <pc:sldMk cId="3003849140" sldId="1206"/>
        </pc:sldMkLst>
        <pc:spChg chg="mod">
          <ac:chgData name="Vengen, Harald Eikenæs" userId="f895383f-f5c1-4e9c-9f1e-03680bb53957" providerId="ADAL" clId="{DB1A5F80-5638-4F59-86CC-307DBEC0FD7F}" dt="2020-08-26T13:47:16.593" v="2889" actId="13926"/>
          <ac:spMkLst>
            <pc:docMk/>
            <pc:sldMk cId="3003849140" sldId="1206"/>
            <ac:spMk id="2" creationId="{88E59BC5-3909-46A3-96B6-C7D65B308626}"/>
          </ac:spMkLst>
        </pc:spChg>
      </pc:sldChg>
      <pc:sldChg chg="addSp delSp modSp new del mod setBg modClrScheme delDesignElem chgLayout">
        <pc:chgData name="Vengen, Harald Eikenæs" userId="f895383f-f5c1-4e9c-9f1e-03680bb53957" providerId="ADAL" clId="{DB1A5F80-5638-4F59-86CC-307DBEC0FD7F}" dt="2020-08-27T13:11:15.519" v="2999" actId="47"/>
        <pc:sldMkLst>
          <pc:docMk/>
          <pc:sldMk cId="785779584" sldId="1207"/>
        </pc:sldMkLst>
        <pc:spChg chg="add del">
          <ac:chgData name="Vengen, Harald Eikenæs" userId="f895383f-f5c1-4e9c-9f1e-03680bb53957" providerId="ADAL" clId="{DB1A5F80-5638-4F59-86CC-307DBEC0FD7F}" dt="2020-08-27T13:03:01.676" v="2967" actId="26606"/>
          <ac:spMkLst>
            <pc:docMk/>
            <pc:sldMk cId="785779584" sldId="1207"/>
            <ac:spMk id="6" creationId="{F3060C83-F051-4F0E-ABAD-AA0DFC48B218}"/>
          </ac:spMkLst>
        </pc:spChg>
        <pc:spChg chg="add del">
          <ac:chgData name="Vengen, Harald Eikenæs" userId="f895383f-f5c1-4e9c-9f1e-03680bb53957" providerId="ADAL" clId="{DB1A5F80-5638-4F59-86CC-307DBEC0FD7F}" dt="2020-08-27T13:03:01.676" v="2967" actId="26606"/>
          <ac:spMkLst>
            <pc:docMk/>
            <pc:sldMk cId="785779584" sldId="1207"/>
            <ac:spMk id="7" creationId="{83C98ABE-055B-441F-B07E-44F97F083C39}"/>
          </ac:spMkLst>
        </pc:spChg>
        <pc:spChg chg="add del">
          <ac:chgData name="Vengen, Harald Eikenæs" userId="f895383f-f5c1-4e9c-9f1e-03680bb53957" providerId="ADAL" clId="{DB1A5F80-5638-4F59-86CC-307DBEC0FD7F}" dt="2020-08-27T13:02:54.930" v="2963" actId="26606"/>
          <ac:spMkLst>
            <pc:docMk/>
            <pc:sldMk cId="785779584" sldId="1207"/>
            <ac:spMk id="9" creationId="{01D0AF59-99C3-4251-AB9A-C966C6AD4400}"/>
          </ac:spMkLst>
        </pc:spChg>
        <pc:spChg chg="add del">
          <ac:chgData name="Vengen, Harald Eikenæs" userId="f895383f-f5c1-4e9c-9f1e-03680bb53957" providerId="ADAL" clId="{DB1A5F80-5638-4F59-86CC-307DBEC0FD7F}" dt="2020-08-27T13:02:54.930" v="2963" actId="26606"/>
          <ac:spMkLst>
            <pc:docMk/>
            <pc:sldMk cId="785779584" sldId="1207"/>
            <ac:spMk id="11" creationId="{1855405F-37A2-4869-9154-F8BE3BECE6C3}"/>
          </ac:spMkLst>
        </pc:spChg>
        <pc:spChg chg="add del">
          <ac:chgData name="Vengen, Harald Eikenæs" userId="f895383f-f5c1-4e9c-9f1e-03680bb53957" providerId="ADAL" clId="{DB1A5F80-5638-4F59-86CC-307DBEC0FD7F}" dt="2020-08-27T13:03:01.676" v="2967" actId="26606"/>
          <ac:spMkLst>
            <pc:docMk/>
            <pc:sldMk cId="785779584" sldId="1207"/>
            <ac:spMk id="13" creationId="{29FDB030-9B49-4CED-8CCD-4D99382388AC}"/>
          </ac:spMkLst>
        </pc:spChg>
        <pc:spChg chg="add del">
          <ac:chgData name="Vengen, Harald Eikenæs" userId="f895383f-f5c1-4e9c-9f1e-03680bb53957" providerId="ADAL" clId="{DB1A5F80-5638-4F59-86CC-307DBEC0FD7F}" dt="2020-08-27T13:03:01.676" v="2967" actId="26606"/>
          <ac:spMkLst>
            <pc:docMk/>
            <pc:sldMk cId="785779584" sldId="1207"/>
            <ac:spMk id="15" creationId="{3783CA14-24A1-485C-8B30-D6A5D87987AD}"/>
          </ac:spMkLst>
        </pc:spChg>
        <pc:spChg chg="add del">
          <ac:chgData name="Vengen, Harald Eikenæs" userId="f895383f-f5c1-4e9c-9f1e-03680bb53957" providerId="ADAL" clId="{DB1A5F80-5638-4F59-86CC-307DBEC0FD7F}" dt="2020-08-27T13:03:01.676" v="2967" actId="26606"/>
          <ac:spMkLst>
            <pc:docMk/>
            <pc:sldMk cId="785779584" sldId="1207"/>
            <ac:spMk id="17" creationId="{9A97C86A-04D6-40F7-AE84-31AB43E6A846}"/>
          </ac:spMkLst>
        </pc:spChg>
        <pc:spChg chg="add del">
          <ac:chgData name="Vengen, Harald Eikenæs" userId="f895383f-f5c1-4e9c-9f1e-03680bb53957" providerId="ADAL" clId="{DB1A5F80-5638-4F59-86CC-307DBEC0FD7F}" dt="2020-08-27T13:03:01.676" v="2967" actId="26606"/>
          <ac:spMkLst>
            <pc:docMk/>
            <pc:sldMk cId="785779584" sldId="1207"/>
            <ac:spMk id="19" creationId="{FF9F2414-84E8-453E-B1F3-389FDE8192D9}"/>
          </ac:spMkLst>
        </pc:spChg>
        <pc:spChg chg="add del">
          <ac:chgData name="Vengen, Harald Eikenæs" userId="f895383f-f5c1-4e9c-9f1e-03680bb53957" providerId="ADAL" clId="{DB1A5F80-5638-4F59-86CC-307DBEC0FD7F}" dt="2020-08-27T13:03:01.676" v="2967" actId="26606"/>
          <ac:spMkLst>
            <pc:docMk/>
            <pc:sldMk cId="785779584" sldId="1207"/>
            <ac:spMk id="21" creationId="{3ECA69A1-7536-43AC-85EF-C7106179F5ED}"/>
          </ac:spMkLst>
        </pc:spChg>
        <pc:spChg chg="add del">
          <ac:chgData name="Vengen, Harald Eikenæs" userId="f895383f-f5c1-4e9c-9f1e-03680bb53957" providerId="ADAL" clId="{DB1A5F80-5638-4F59-86CC-307DBEC0FD7F}" dt="2020-08-27T13:03:13.761" v="2969" actId="26606"/>
          <ac:spMkLst>
            <pc:docMk/>
            <pc:sldMk cId="785779584" sldId="1207"/>
            <ac:spMk id="23" creationId="{32BC26D8-82FB-445E-AA49-62A77D7C1EE0}"/>
          </ac:spMkLst>
        </pc:spChg>
        <pc:spChg chg="add del">
          <ac:chgData name="Vengen, Harald Eikenæs" userId="f895383f-f5c1-4e9c-9f1e-03680bb53957" providerId="ADAL" clId="{DB1A5F80-5638-4F59-86CC-307DBEC0FD7F}" dt="2020-08-27T13:03:13.761" v="2969" actId="26606"/>
          <ac:spMkLst>
            <pc:docMk/>
            <pc:sldMk cId="785779584" sldId="1207"/>
            <ac:spMk id="24" creationId="{CB44330D-EA18-4254-AA95-EB49948539B8}"/>
          </ac:spMkLst>
        </pc:spChg>
        <pc:spChg chg="add del">
          <ac:chgData name="Vengen, Harald Eikenæs" userId="f895383f-f5c1-4e9c-9f1e-03680bb53957" providerId="ADAL" clId="{DB1A5F80-5638-4F59-86CC-307DBEC0FD7F}" dt="2020-08-27T13:06:22.033" v="2972" actId="700"/>
          <ac:spMkLst>
            <pc:docMk/>
            <pc:sldMk cId="785779584" sldId="1207"/>
            <ac:spMk id="26" creationId="{1500B4A4-B1F1-41EA-886A-B8A210DBCA3B}"/>
          </ac:spMkLst>
        </pc:spChg>
        <pc:spChg chg="add del">
          <ac:chgData name="Vengen, Harald Eikenæs" userId="f895383f-f5c1-4e9c-9f1e-03680bb53957" providerId="ADAL" clId="{DB1A5F80-5638-4F59-86CC-307DBEC0FD7F}" dt="2020-08-27T13:06:22.033" v="2972" actId="700"/>
          <ac:spMkLst>
            <pc:docMk/>
            <pc:sldMk cId="785779584" sldId="1207"/>
            <ac:spMk id="27" creationId="{5E55A99C-0BDC-4DBE-8E40-9FA66F629FA1}"/>
          </ac:spMkLst>
        </pc:spChg>
        <pc:graphicFrameChg chg="add del mod">
          <ac:chgData name="Vengen, Harald Eikenæs" userId="f895383f-f5c1-4e9c-9f1e-03680bb53957" providerId="ADAL" clId="{DB1A5F80-5638-4F59-86CC-307DBEC0FD7F}" dt="2020-08-27T13:06:16.007" v="2971" actId="478"/>
          <ac:graphicFrameMkLst>
            <pc:docMk/>
            <pc:sldMk cId="785779584" sldId="1207"/>
            <ac:graphicFrameMk id="4" creationId="{F3513EC3-B2A9-45CA-B290-1C70C429E950}"/>
          </ac:graphicFrameMkLst>
        </pc:graphicFrameChg>
        <pc:graphicFrameChg chg="add del">
          <ac:chgData name="Vengen, Harald Eikenæs" userId="f895383f-f5c1-4e9c-9f1e-03680bb53957" providerId="ADAL" clId="{DB1A5F80-5638-4F59-86CC-307DBEC0FD7F}" dt="2020-08-27T13:06:43.292" v="2985" actId="22"/>
          <ac:graphicFrameMkLst>
            <pc:docMk/>
            <pc:sldMk cId="785779584" sldId="1207"/>
            <ac:graphicFrameMk id="5" creationId="{90A04DDA-DF1A-44CF-AE71-678B76986635}"/>
          </ac:graphicFrameMkLst>
        </pc:graphicFrameChg>
        <pc:picChg chg="add mod">
          <ac:chgData name="Vengen, Harald Eikenæs" userId="f895383f-f5c1-4e9c-9f1e-03680bb53957" providerId="ADAL" clId="{DB1A5F80-5638-4F59-86CC-307DBEC0FD7F}" dt="2020-08-27T13:07:28.118" v="2990" actId="1076"/>
          <ac:picMkLst>
            <pc:docMk/>
            <pc:sldMk cId="785779584" sldId="1207"/>
            <ac:picMk id="10" creationId="{3ABD6896-DF65-45D8-B978-BD78D6A4B403}"/>
          </ac:picMkLst>
        </pc:picChg>
      </pc:sldChg>
      <pc:sldChg chg="addSp delSp modSp new mod setBg">
        <pc:chgData name="Vengen, Harald Eikenæs" userId="f895383f-f5c1-4e9c-9f1e-03680bb53957" providerId="ADAL" clId="{DB1A5F80-5638-4F59-86CC-307DBEC0FD7F}" dt="2020-08-27T13:10:36.477" v="2998" actId="27614"/>
        <pc:sldMkLst>
          <pc:docMk/>
          <pc:sldMk cId="2529594495" sldId="1208"/>
        </pc:sldMkLst>
        <pc:spChg chg="add del">
          <ac:chgData name="Vengen, Harald Eikenæs" userId="f895383f-f5c1-4e9c-9f1e-03680bb53957" providerId="ADAL" clId="{DB1A5F80-5638-4F59-86CC-307DBEC0FD7F}" dt="2020-08-27T13:10:11.474" v="2994" actId="26606"/>
          <ac:spMkLst>
            <pc:docMk/>
            <pc:sldMk cId="2529594495" sldId="1208"/>
            <ac:spMk id="8" creationId="{01D0AF59-99C3-4251-AB9A-C966C6AD4400}"/>
          </ac:spMkLst>
        </pc:spChg>
        <pc:spChg chg="add del">
          <ac:chgData name="Vengen, Harald Eikenæs" userId="f895383f-f5c1-4e9c-9f1e-03680bb53957" providerId="ADAL" clId="{DB1A5F80-5638-4F59-86CC-307DBEC0FD7F}" dt="2020-08-27T13:10:11.474" v="2994" actId="26606"/>
          <ac:spMkLst>
            <pc:docMk/>
            <pc:sldMk cId="2529594495" sldId="1208"/>
            <ac:spMk id="10" creationId="{1855405F-37A2-4869-9154-F8BE3BECE6C3}"/>
          </ac:spMkLst>
        </pc:spChg>
        <pc:spChg chg="add del">
          <ac:chgData name="Vengen, Harald Eikenæs" userId="f895383f-f5c1-4e9c-9f1e-03680bb53957" providerId="ADAL" clId="{DB1A5F80-5638-4F59-86CC-307DBEC0FD7F}" dt="2020-08-27T13:10:26.845" v="2996" actId="26606"/>
          <ac:spMkLst>
            <pc:docMk/>
            <pc:sldMk cId="2529594495" sldId="1208"/>
            <ac:spMk id="12" creationId="{42A4FC2C-047E-45A5-965D-8E1E3BF09BC6}"/>
          </ac:spMkLst>
        </pc:spChg>
        <pc:picChg chg="add mod">
          <ac:chgData name="Vengen, Harald Eikenæs" userId="f895383f-f5c1-4e9c-9f1e-03680bb53957" providerId="ADAL" clId="{DB1A5F80-5638-4F59-86CC-307DBEC0FD7F}" dt="2020-08-27T13:10:36.477" v="2998" actId="27614"/>
          <ac:picMkLst>
            <pc:docMk/>
            <pc:sldMk cId="2529594495" sldId="1208"/>
            <ac:picMk id="3" creationId="{D5594391-9983-4DD6-978D-457C6326F2BB}"/>
          </ac:picMkLst>
        </pc:picChg>
      </pc:sldChg>
      <pc:sldChg chg="addSp delSp modSp add del mod modNotesTx">
        <pc:chgData name="Vengen, Harald Eikenæs" userId="f895383f-f5c1-4e9c-9f1e-03680bb53957" providerId="ADAL" clId="{DB1A5F80-5638-4F59-86CC-307DBEC0FD7F}" dt="2020-08-28T09:27:32.803" v="3079" actId="2711"/>
        <pc:sldMkLst>
          <pc:docMk/>
          <pc:sldMk cId="2967871812" sldId="2134806466"/>
        </pc:sldMkLst>
        <pc:spChg chg="mod">
          <ac:chgData name="Vengen, Harald Eikenæs" userId="f895383f-f5c1-4e9c-9f1e-03680bb53957" providerId="ADAL" clId="{DB1A5F80-5638-4F59-86CC-307DBEC0FD7F}" dt="2020-08-28T09:27:32.803" v="3079" actId="2711"/>
          <ac:spMkLst>
            <pc:docMk/>
            <pc:sldMk cId="2967871812" sldId="2134806466"/>
            <ac:spMk id="44" creationId="{044117D6-2BBF-4EDC-87C6-02555692A4A0}"/>
          </ac:spMkLst>
        </pc:spChg>
        <pc:spChg chg="add del mod">
          <ac:chgData name="Vengen, Harald Eikenæs" userId="f895383f-f5c1-4e9c-9f1e-03680bb53957" providerId="ADAL" clId="{DB1A5F80-5638-4F59-86CC-307DBEC0FD7F}" dt="2020-08-28T07:44:22.909" v="3006" actId="478"/>
          <ac:spMkLst>
            <pc:docMk/>
            <pc:sldMk cId="2967871812" sldId="2134806466"/>
            <ac:spMk id="47" creationId="{2BFEDC99-3738-401A-AC6F-89DCC94AEAAB}"/>
          </ac:spMkLst>
        </pc:spChg>
      </pc:sldChg>
      <pc:sldChg chg="new del">
        <pc:chgData name="Vengen, Harald Eikenæs" userId="f895383f-f5c1-4e9c-9f1e-03680bb53957" providerId="ADAL" clId="{DB1A5F80-5638-4F59-86CC-307DBEC0FD7F}" dt="2020-08-28T08:52:39.226" v="3058" actId="47"/>
        <pc:sldMkLst>
          <pc:docMk/>
          <pc:sldMk cId="2940375221" sldId="2134806467"/>
        </pc:sldMkLst>
      </pc:sldChg>
      <pc:sldChg chg="addSp delSp modSp add del mod">
        <pc:chgData name="Vengen, Harald Eikenæs" userId="f895383f-f5c1-4e9c-9f1e-03680bb53957" providerId="ADAL" clId="{DB1A5F80-5638-4F59-86CC-307DBEC0FD7F}" dt="2020-08-28T08:55:06.739" v="3074" actId="2696"/>
        <pc:sldMkLst>
          <pc:docMk/>
          <pc:sldMk cId="2135652786" sldId="2134806469"/>
        </pc:sldMkLst>
        <pc:spChg chg="mod">
          <ac:chgData name="Vengen, Harald Eikenæs" userId="f895383f-f5c1-4e9c-9f1e-03680bb53957" providerId="ADAL" clId="{DB1A5F80-5638-4F59-86CC-307DBEC0FD7F}" dt="2020-08-28T08:53:01.304" v="3059"/>
          <ac:spMkLst>
            <pc:docMk/>
            <pc:sldMk cId="2135652786" sldId="2134806469"/>
            <ac:spMk id="5" creationId="{ADB7B9F0-1EFB-4305-8B92-FF743A75707C}"/>
          </ac:spMkLst>
        </pc:spChg>
        <pc:spChg chg="mod">
          <ac:chgData name="Vengen, Harald Eikenæs" userId="f895383f-f5c1-4e9c-9f1e-03680bb53957" providerId="ADAL" clId="{DB1A5F80-5638-4F59-86CC-307DBEC0FD7F}" dt="2020-08-28T08:53:01.304" v="3059"/>
          <ac:spMkLst>
            <pc:docMk/>
            <pc:sldMk cId="2135652786" sldId="2134806469"/>
            <ac:spMk id="7" creationId="{632FBB51-6AE9-43BC-964E-C85FD16F9609}"/>
          </ac:spMkLst>
        </pc:spChg>
        <pc:spChg chg="mod">
          <ac:chgData name="Vengen, Harald Eikenæs" userId="f895383f-f5c1-4e9c-9f1e-03680bb53957" providerId="ADAL" clId="{DB1A5F80-5638-4F59-86CC-307DBEC0FD7F}" dt="2020-08-28T08:53:01.304" v="3059"/>
          <ac:spMkLst>
            <pc:docMk/>
            <pc:sldMk cId="2135652786" sldId="2134806469"/>
            <ac:spMk id="10" creationId="{029CB971-125B-4C35-AC18-4ECBD28F6A01}"/>
          </ac:spMkLst>
        </pc:spChg>
        <pc:spChg chg="mod">
          <ac:chgData name="Vengen, Harald Eikenæs" userId="f895383f-f5c1-4e9c-9f1e-03680bb53957" providerId="ADAL" clId="{DB1A5F80-5638-4F59-86CC-307DBEC0FD7F}" dt="2020-08-28T08:53:01.304" v="3059"/>
          <ac:spMkLst>
            <pc:docMk/>
            <pc:sldMk cId="2135652786" sldId="2134806469"/>
            <ac:spMk id="12" creationId="{F5FCE4E1-D591-4D1D-B9A5-59A89B67CCE2}"/>
          </ac:spMkLst>
        </pc:spChg>
        <pc:spChg chg="mod">
          <ac:chgData name="Vengen, Harald Eikenæs" userId="f895383f-f5c1-4e9c-9f1e-03680bb53957" providerId="ADAL" clId="{DB1A5F80-5638-4F59-86CC-307DBEC0FD7F}" dt="2020-08-28T08:53:01.304" v="3059"/>
          <ac:spMkLst>
            <pc:docMk/>
            <pc:sldMk cId="2135652786" sldId="2134806469"/>
            <ac:spMk id="15" creationId="{6826D56C-13FF-4EA8-B50F-3C13A61109DB}"/>
          </ac:spMkLst>
        </pc:spChg>
        <pc:spChg chg="mod">
          <ac:chgData name="Vengen, Harald Eikenæs" userId="f895383f-f5c1-4e9c-9f1e-03680bb53957" providerId="ADAL" clId="{DB1A5F80-5638-4F59-86CC-307DBEC0FD7F}" dt="2020-08-28T08:53:01.304" v="3059"/>
          <ac:spMkLst>
            <pc:docMk/>
            <pc:sldMk cId="2135652786" sldId="2134806469"/>
            <ac:spMk id="17" creationId="{6CF605F8-087E-489B-8C25-F58396E6D20E}"/>
          </ac:spMkLst>
        </pc:spChg>
        <pc:spChg chg="add del mod">
          <ac:chgData name="Vengen, Harald Eikenæs" userId="f895383f-f5c1-4e9c-9f1e-03680bb53957" providerId="ADAL" clId="{DB1A5F80-5638-4F59-86CC-307DBEC0FD7F}" dt="2020-08-28T08:53:07.481" v="3062"/>
          <ac:spMkLst>
            <pc:docMk/>
            <pc:sldMk cId="2135652786" sldId="2134806469"/>
            <ac:spMk id="19" creationId="{BA54DA58-6745-4D32-98A1-7ABBBFFE6963}"/>
          </ac:spMkLst>
        </pc:spChg>
        <pc:spChg chg="mod">
          <ac:chgData name="Vengen, Harald Eikenæs" userId="f895383f-f5c1-4e9c-9f1e-03680bb53957" providerId="ADAL" clId="{DB1A5F80-5638-4F59-86CC-307DBEC0FD7F}" dt="2020-08-28T08:53:01.304" v="3059"/>
          <ac:spMkLst>
            <pc:docMk/>
            <pc:sldMk cId="2135652786" sldId="2134806469"/>
            <ac:spMk id="21" creationId="{5E2C0A34-5C08-4618-BD83-E194E988B709}"/>
          </ac:spMkLst>
        </pc:spChg>
        <pc:spChg chg="mod">
          <ac:chgData name="Vengen, Harald Eikenæs" userId="f895383f-f5c1-4e9c-9f1e-03680bb53957" providerId="ADAL" clId="{DB1A5F80-5638-4F59-86CC-307DBEC0FD7F}" dt="2020-08-28T08:53:01.304" v="3059"/>
          <ac:spMkLst>
            <pc:docMk/>
            <pc:sldMk cId="2135652786" sldId="2134806469"/>
            <ac:spMk id="24" creationId="{A1F5E1D2-3837-4140-87A6-68EB5D1485E0}"/>
          </ac:spMkLst>
        </pc:spChg>
        <pc:spChg chg="mod">
          <ac:chgData name="Vengen, Harald Eikenæs" userId="f895383f-f5c1-4e9c-9f1e-03680bb53957" providerId="ADAL" clId="{DB1A5F80-5638-4F59-86CC-307DBEC0FD7F}" dt="2020-08-28T08:53:01.304" v="3059"/>
          <ac:spMkLst>
            <pc:docMk/>
            <pc:sldMk cId="2135652786" sldId="2134806469"/>
            <ac:spMk id="26" creationId="{92AF45FF-DA42-4EB6-A02A-751B831EF70D}"/>
          </ac:spMkLst>
        </pc:spChg>
        <pc:spChg chg="mod">
          <ac:chgData name="Vengen, Harald Eikenæs" userId="f895383f-f5c1-4e9c-9f1e-03680bb53957" providerId="ADAL" clId="{DB1A5F80-5638-4F59-86CC-307DBEC0FD7F}" dt="2020-08-28T08:53:01.304" v="3059"/>
          <ac:spMkLst>
            <pc:docMk/>
            <pc:sldMk cId="2135652786" sldId="2134806469"/>
            <ac:spMk id="29" creationId="{0CD2081A-EA39-4236-8B47-CD965C94F2EA}"/>
          </ac:spMkLst>
        </pc:spChg>
        <pc:spChg chg="mod">
          <ac:chgData name="Vengen, Harald Eikenæs" userId="f895383f-f5c1-4e9c-9f1e-03680bb53957" providerId="ADAL" clId="{DB1A5F80-5638-4F59-86CC-307DBEC0FD7F}" dt="2020-08-28T08:53:01.304" v="3059"/>
          <ac:spMkLst>
            <pc:docMk/>
            <pc:sldMk cId="2135652786" sldId="2134806469"/>
            <ac:spMk id="31" creationId="{A7DBBBAE-FF70-46B6-BA7B-9C183C14124C}"/>
          </ac:spMkLst>
        </pc:spChg>
        <pc:grpChg chg="add del mod">
          <ac:chgData name="Vengen, Harald Eikenæs" userId="f895383f-f5c1-4e9c-9f1e-03680bb53957" providerId="ADAL" clId="{DB1A5F80-5638-4F59-86CC-307DBEC0FD7F}" dt="2020-08-28T08:53:07.481" v="3062"/>
          <ac:grpSpMkLst>
            <pc:docMk/>
            <pc:sldMk cId="2135652786" sldId="2134806469"/>
            <ac:grpSpMk id="4" creationId="{6AAD8832-909A-496E-A9E1-CED7D8305915}"/>
          </ac:grpSpMkLst>
        </pc:grpChg>
        <pc:grpChg chg="mod">
          <ac:chgData name="Vengen, Harald Eikenæs" userId="f895383f-f5c1-4e9c-9f1e-03680bb53957" providerId="ADAL" clId="{DB1A5F80-5638-4F59-86CC-307DBEC0FD7F}" dt="2020-08-28T08:53:01.304" v="3059"/>
          <ac:grpSpMkLst>
            <pc:docMk/>
            <pc:sldMk cId="2135652786" sldId="2134806469"/>
            <ac:grpSpMk id="6" creationId="{5686D951-4518-459D-98A1-F149486F2685}"/>
          </ac:grpSpMkLst>
        </pc:grpChg>
        <pc:grpChg chg="add del mod">
          <ac:chgData name="Vengen, Harald Eikenæs" userId="f895383f-f5c1-4e9c-9f1e-03680bb53957" providerId="ADAL" clId="{DB1A5F80-5638-4F59-86CC-307DBEC0FD7F}" dt="2020-08-28T08:53:07.481" v="3062"/>
          <ac:grpSpMkLst>
            <pc:docMk/>
            <pc:sldMk cId="2135652786" sldId="2134806469"/>
            <ac:grpSpMk id="9" creationId="{6432A00F-7BD3-491A-9B21-8D2352F9BC9C}"/>
          </ac:grpSpMkLst>
        </pc:grpChg>
        <pc:grpChg chg="mod">
          <ac:chgData name="Vengen, Harald Eikenæs" userId="f895383f-f5c1-4e9c-9f1e-03680bb53957" providerId="ADAL" clId="{DB1A5F80-5638-4F59-86CC-307DBEC0FD7F}" dt="2020-08-28T08:53:01.304" v="3059"/>
          <ac:grpSpMkLst>
            <pc:docMk/>
            <pc:sldMk cId="2135652786" sldId="2134806469"/>
            <ac:grpSpMk id="11" creationId="{BC21CABB-0E4D-4867-A283-0690210CA81A}"/>
          </ac:grpSpMkLst>
        </pc:grpChg>
        <pc:grpChg chg="add del mod">
          <ac:chgData name="Vengen, Harald Eikenæs" userId="f895383f-f5c1-4e9c-9f1e-03680bb53957" providerId="ADAL" clId="{DB1A5F80-5638-4F59-86CC-307DBEC0FD7F}" dt="2020-08-28T08:53:07.481" v="3062"/>
          <ac:grpSpMkLst>
            <pc:docMk/>
            <pc:sldMk cId="2135652786" sldId="2134806469"/>
            <ac:grpSpMk id="14" creationId="{E8DCFD1D-C950-44CA-BF50-4360EA6203DE}"/>
          </ac:grpSpMkLst>
        </pc:grpChg>
        <pc:grpChg chg="mod">
          <ac:chgData name="Vengen, Harald Eikenæs" userId="f895383f-f5c1-4e9c-9f1e-03680bb53957" providerId="ADAL" clId="{DB1A5F80-5638-4F59-86CC-307DBEC0FD7F}" dt="2020-08-28T08:53:01.304" v="3059"/>
          <ac:grpSpMkLst>
            <pc:docMk/>
            <pc:sldMk cId="2135652786" sldId="2134806469"/>
            <ac:grpSpMk id="16" creationId="{A23A0384-1006-4E2B-801E-48CEB76799ED}"/>
          </ac:grpSpMkLst>
        </pc:grpChg>
        <pc:grpChg chg="add del mod">
          <ac:chgData name="Vengen, Harald Eikenæs" userId="f895383f-f5c1-4e9c-9f1e-03680bb53957" providerId="ADAL" clId="{DB1A5F80-5638-4F59-86CC-307DBEC0FD7F}" dt="2020-08-28T08:53:07.481" v="3062"/>
          <ac:grpSpMkLst>
            <pc:docMk/>
            <pc:sldMk cId="2135652786" sldId="2134806469"/>
            <ac:grpSpMk id="20" creationId="{187B4E82-1E89-4FA7-9C4F-98319D01A084}"/>
          </ac:grpSpMkLst>
        </pc:grpChg>
        <pc:grpChg chg="add del mod">
          <ac:chgData name="Vengen, Harald Eikenæs" userId="f895383f-f5c1-4e9c-9f1e-03680bb53957" providerId="ADAL" clId="{DB1A5F80-5638-4F59-86CC-307DBEC0FD7F}" dt="2020-08-28T08:53:07.481" v="3062"/>
          <ac:grpSpMkLst>
            <pc:docMk/>
            <pc:sldMk cId="2135652786" sldId="2134806469"/>
            <ac:grpSpMk id="23" creationId="{4F3E6FB0-3888-4A39-9B33-DA359507AAF3}"/>
          </ac:grpSpMkLst>
        </pc:grpChg>
        <pc:grpChg chg="mod">
          <ac:chgData name="Vengen, Harald Eikenæs" userId="f895383f-f5c1-4e9c-9f1e-03680bb53957" providerId="ADAL" clId="{DB1A5F80-5638-4F59-86CC-307DBEC0FD7F}" dt="2020-08-28T08:53:01.304" v="3059"/>
          <ac:grpSpMkLst>
            <pc:docMk/>
            <pc:sldMk cId="2135652786" sldId="2134806469"/>
            <ac:grpSpMk id="25" creationId="{6492BFC2-B8D8-495C-B953-F00ED00EC2D4}"/>
          </ac:grpSpMkLst>
        </pc:grpChg>
        <pc:grpChg chg="add del mod">
          <ac:chgData name="Vengen, Harald Eikenæs" userId="f895383f-f5c1-4e9c-9f1e-03680bb53957" providerId="ADAL" clId="{DB1A5F80-5638-4F59-86CC-307DBEC0FD7F}" dt="2020-08-28T08:53:07.481" v="3062"/>
          <ac:grpSpMkLst>
            <pc:docMk/>
            <pc:sldMk cId="2135652786" sldId="2134806469"/>
            <ac:grpSpMk id="28" creationId="{4438DA06-6291-40F7-BB82-28C42C26995D}"/>
          </ac:grpSpMkLst>
        </pc:grpChg>
        <pc:grpChg chg="mod">
          <ac:chgData name="Vengen, Harald Eikenæs" userId="f895383f-f5c1-4e9c-9f1e-03680bb53957" providerId="ADAL" clId="{DB1A5F80-5638-4F59-86CC-307DBEC0FD7F}" dt="2020-08-28T08:53:01.304" v="3059"/>
          <ac:grpSpMkLst>
            <pc:docMk/>
            <pc:sldMk cId="2135652786" sldId="2134806469"/>
            <ac:grpSpMk id="30" creationId="{032CFD50-28BA-4973-84A3-C8045A03E259}"/>
          </ac:grpSpMkLst>
        </pc:grpChg>
        <pc:picChg chg="mod">
          <ac:chgData name="Vengen, Harald Eikenæs" userId="f895383f-f5c1-4e9c-9f1e-03680bb53957" providerId="ADAL" clId="{DB1A5F80-5638-4F59-86CC-307DBEC0FD7F}" dt="2020-08-28T08:53:01.304" v="3059"/>
          <ac:picMkLst>
            <pc:docMk/>
            <pc:sldMk cId="2135652786" sldId="2134806469"/>
            <ac:picMk id="8" creationId="{EF2D50DB-E3FC-4D70-A479-35CCC539FFF7}"/>
          </ac:picMkLst>
        </pc:picChg>
        <pc:picChg chg="mod">
          <ac:chgData name="Vengen, Harald Eikenæs" userId="f895383f-f5c1-4e9c-9f1e-03680bb53957" providerId="ADAL" clId="{DB1A5F80-5638-4F59-86CC-307DBEC0FD7F}" dt="2020-08-28T08:53:01.304" v="3059"/>
          <ac:picMkLst>
            <pc:docMk/>
            <pc:sldMk cId="2135652786" sldId="2134806469"/>
            <ac:picMk id="13" creationId="{2D4BA0A0-28B8-403D-AC47-D60EFC17BAA2}"/>
          </ac:picMkLst>
        </pc:picChg>
        <pc:picChg chg="mod">
          <ac:chgData name="Vengen, Harald Eikenæs" userId="f895383f-f5c1-4e9c-9f1e-03680bb53957" providerId="ADAL" clId="{DB1A5F80-5638-4F59-86CC-307DBEC0FD7F}" dt="2020-08-28T08:53:01.304" v="3059"/>
          <ac:picMkLst>
            <pc:docMk/>
            <pc:sldMk cId="2135652786" sldId="2134806469"/>
            <ac:picMk id="18" creationId="{909CAE07-499D-43E3-ACA8-1456FB369158}"/>
          </ac:picMkLst>
        </pc:picChg>
        <pc:picChg chg="mod">
          <ac:chgData name="Vengen, Harald Eikenæs" userId="f895383f-f5c1-4e9c-9f1e-03680bb53957" providerId="ADAL" clId="{DB1A5F80-5638-4F59-86CC-307DBEC0FD7F}" dt="2020-08-28T08:53:01.304" v="3059"/>
          <ac:picMkLst>
            <pc:docMk/>
            <pc:sldMk cId="2135652786" sldId="2134806469"/>
            <ac:picMk id="22" creationId="{B53B2097-4F7C-4915-A408-82CBD96E62A4}"/>
          </ac:picMkLst>
        </pc:picChg>
        <pc:picChg chg="mod">
          <ac:chgData name="Vengen, Harald Eikenæs" userId="f895383f-f5c1-4e9c-9f1e-03680bb53957" providerId="ADAL" clId="{DB1A5F80-5638-4F59-86CC-307DBEC0FD7F}" dt="2020-08-28T08:53:01.304" v="3059"/>
          <ac:picMkLst>
            <pc:docMk/>
            <pc:sldMk cId="2135652786" sldId="2134806469"/>
            <ac:picMk id="27" creationId="{5C05BFE2-EC7B-46D6-938F-749F3BFEC1A0}"/>
          </ac:picMkLst>
        </pc:picChg>
        <pc:picChg chg="mod">
          <ac:chgData name="Vengen, Harald Eikenæs" userId="f895383f-f5c1-4e9c-9f1e-03680bb53957" providerId="ADAL" clId="{DB1A5F80-5638-4F59-86CC-307DBEC0FD7F}" dt="2020-08-28T08:53:01.304" v="3059"/>
          <ac:picMkLst>
            <pc:docMk/>
            <pc:sldMk cId="2135652786" sldId="2134806469"/>
            <ac:picMk id="32" creationId="{0EFE9E93-B03B-4D66-B516-B266C7443F33}"/>
          </ac:picMkLst>
        </pc:picChg>
        <pc:picChg chg="add del">
          <ac:chgData name="Vengen, Harald Eikenæs" userId="f895383f-f5c1-4e9c-9f1e-03680bb53957" providerId="ADAL" clId="{DB1A5F80-5638-4F59-86CC-307DBEC0FD7F}" dt="2020-08-28T08:53:25.061" v="3066" actId="478"/>
          <ac:picMkLst>
            <pc:docMk/>
            <pc:sldMk cId="2135652786" sldId="2134806469"/>
            <ac:picMk id="34" creationId="{96616F96-E8C2-4B33-8DE7-B45F7176B35C}"/>
          </ac:picMkLst>
        </pc:picChg>
        <pc:picChg chg="add mod">
          <ac:chgData name="Vengen, Harald Eikenæs" userId="f895383f-f5c1-4e9c-9f1e-03680bb53957" providerId="ADAL" clId="{DB1A5F80-5638-4F59-86CC-307DBEC0FD7F}" dt="2020-08-28T08:54:19.349" v="3073" actId="14100"/>
          <ac:picMkLst>
            <pc:docMk/>
            <pc:sldMk cId="2135652786" sldId="2134806469"/>
            <ac:picMk id="36" creationId="{E1EA0396-399D-4CA7-9063-28B4C259EDF3}"/>
          </ac:picMkLst>
        </pc:picChg>
        <pc:cxnChg chg="add del mod">
          <ac:chgData name="Vengen, Harald Eikenæs" userId="f895383f-f5c1-4e9c-9f1e-03680bb53957" providerId="ADAL" clId="{DB1A5F80-5638-4F59-86CC-307DBEC0FD7F}" dt="2020-08-28T08:53:07.481" v="3062"/>
          <ac:cxnSpMkLst>
            <pc:docMk/>
            <pc:sldMk cId="2135652786" sldId="2134806469"/>
            <ac:cxnSpMk id="33" creationId="{F6DB6B4A-508A-431B-AB44-C76AD47C9533}"/>
          </ac:cxnSpMkLst>
        </pc:cxnChg>
      </pc:sldChg>
      <pc:sldMasterChg chg="delSp mod">
        <pc:chgData name="Vengen, Harald Eikenæs" userId="f895383f-f5c1-4e9c-9f1e-03680bb53957" providerId="ADAL" clId="{DB1A5F80-5638-4F59-86CC-307DBEC0FD7F}" dt="2020-08-28T09:26:04.082" v="3076"/>
        <pc:sldMasterMkLst>
          <pc:docMk/>
          <pc:sldMasterMk cId="2321863000" sldId="2147483660"/>
        </pc:sldMasterMkLst>
        <pc:spChg chg="del">
          <ac:chgData name="Vengen, Harald Eikenæs" userId="f895383f-f5c1-4e9c-9f1e-03680bb53957" providerId="ADAL" clId="{DB1A5F80-5638-4F59-86CC-307DBEC0FD7F}" dt="2020-08-28T09:26:04.082" v="3076"/>
          <ac:spMkLst>
            <pc:docMk/>
            <pc:sldMasterMk cId="2321863000" sldId="2147483660"/>
            <ac:spMk id="4" creationId="{071307B6-009F-4761-9E76-AA35F9EC22F6}"/>
          </ac:spMkLst>
        </pc:sp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91EC8F-DF82-4B88-A8BC-E9F4320E4E53}" type="datetimeFigureOut">
              <a:rPr lang="nb-NO" smtClean="0"/>
              <a:t>28.08.2020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E44361-0FE4-4F99-B4B8-06301BF9E0E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964301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E44361-0FE4-4F99-B4B8-06301BF9E0EE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960343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Plassholder for lysbil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defRPr/>
            </a:pPr>
            <a:endParaRPr lang="nb-NO" dirty="0"/>
          </a:p>
        </p:txBody>
      </p:sp>
      <p:sp>
        <p:nvSpPr>
          <p:cNvPr id="8196" name="Plassholder for lysbildenummer 3"/>
          <p:cNvSpPr>
            <a:spLocks noGrp="1"/>
          </p:cNvSpPr>
          <p:nvPr>
            <p:ph type="sldNum" sz="quarter" idx="5"/>
          </p:nvPr>
        </p:nvSpPr>
        <p:spPr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>
              <a:defRPr/>
            </a:pPr>
            <a:fld id="{679A4553-8E48-4FC4-B6A1-38D4D072AB06}" type="slidenum">
              <a:rPr lang="nb-NO" sz="1200" smtClean="0"/>
              <a:pPr>
                <a:defRPr/>
              </a:pPr>
              <a:t>2</a:t>
            </a:fld>
            <a:endParaRPr lang="nb-NO" sz="1200"/>
          </a:p>
        </p:txBody>
      </p:sp>
    </p:spTree>
    <p:extLst>
      <p:ext uri="{BB962C8B-B14F-4D97-AF65-F5344CB8AC3E}">
        <p14:creationId xmlns:p14="http://schemas.microsoft.com/office/powerpoint/2010/main" val="4046873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7AA406F-ED5D-4CE1-AAA8-C1F61B756B5A}" type="slidenum">
              <a:rPr kumimoji="0" lang="nb-NO" altLang="nb-NO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anose="020B0600070205080204" pitchFamily="34" charset="-128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altLang="nb-NO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sp>
        <p:nvSpPr>
          <p:cNvPr id="133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3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nb-NO" altLang="nb-NO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84864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E44361-0FE4-4F99-B4B8-06301BF9E0EE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546659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E44361-0FE4-4F99-B4B8-06301BF9E0EE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374665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E44361-0FE4-4F99-B4B8-06301BF9E0EE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29982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63EE3C-1893-D749-B8D9-086FD1D5B251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65631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E44361-0FE4-4F99-B4B8-06301BF9E0EE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440762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BD9301-1220-428B-9E39-D6C2F581E5AF}" type="slidenum">
              <a:rPr lang="nb-NO" smtClean="0"/>
              <a:pPr>
                <a:defRPr/>
              </a:pPr>
              <a:t>1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56613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jp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0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6"/>
          <p:cNvSpPr>
            <a:spLocks noGrp="1"/>
          </p:cNvSpPr>
          <p:nvPr>
            <p:ph type="body" sz="quarter" idx="10"/>
          </p:nvPr>
        </p:nvSpPr>
        <p:spPr>
          <a:xfrm>
            <a:off x="3695700" y="260351"/>
            <a:ext cx="8257117" cy="57573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/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640122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150107F-3F35-2046-A3B3-04F0E7A8E1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5C41A8FD-8553-DD4F-90C5-0FBFFD62C37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BA15B96-AF2A-974A-9543-D3F7D101AE2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132860-FF2C-C34A-8F2C-091F1748F0DF}" type="datetimeFigureOut">
              <a:rPr lang="nb-NO" smtClean="0"/>
              <a:t>28.08.2020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C6228ACE-9D01-C546-B6FC-E6AEC053B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C9F12B3-93A0-7D42-A419-727ABEFC57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1B2B8E-86F8-E346-B1E7-4E7369CE166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189529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endefinert opps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 descr="Et bilde som inneholder tegning&#10;&#10;Automatisk generert beskrivelse">
            <a:extLst>
              <a:ext uri="{FF2B5EF4-FFF2-40B4-BE49-F238E27FC236}">
                <a16:creationId xmlns:a16="http://schemas.microsoft.com/office/drawing/2014/main" id="{023E2D23-3A06-574A-BB0D-0023BD36EB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49983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gendefinert opps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0E48E5C-B73A-4404-9C3B-0F770D757A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1135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0E48E5C-B73A-4404-9C3B-0F770D757A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e 10">
            <a:extLst>
              <a:ext uri="{FF2B5EF4-FFF2-40B4-BE49-F238E27FC236}">
                <a16:creationId xmlns:a16="http://schemas.microsoft.com/office/drawing/2014/main" id="{B651CBB1-A0A5-D74F-83EF-F394FF2688C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tel 1">
            <a:extLst>
              <a:ext uri="{FF2B5EF4-FFF2-40B4-BE49-F238E27FC236}">
                <a16:creationId xmlns:a16="http://schemas.microsoft.com/office/drawing/2014/main" id="{04A41398-1D07-854D-B60A-BDBAF1A1E89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233708"/>
            <a:ext cx="9144000" cy="2387600"/>
          </a:xfrm>
          <a:prstGeom prst="rect">
            <a:avLst/>
          </a:prstGeom>
        </p:spPr>
        <p:txBody>
          <a:bodyPr anchor="ctr"/>
          <a:lstStyle>
            <a:lvl1pPr algn="ctr">
              <a:defRPr sz="6000" b="0" i="0">
                <a:solidFill>
                  <a:srgbClr val="1DAA87"/>
                </a:solidFill>
                <a:latin typeface="AvenirNext LT Pro" panose="020B0504020202020204"/>
                <a:cs typeface="Segoe UI" panose="020B0502040204020203" pitchFamily="34" charset="0"/>
              </a:defRPr>
            </a:lvl1pPr>
          </a:lstStyle>
          <a:p>
            <a:r>
              <a:rPr lang="nb-NO" dirty="0"/>
              <a:t>Kapitteloverskrif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D352C14-31FE-4F37-8723-195F56A063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4000" y="3762596"/>
            <a:ext cx="9144000" cy="652462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rgbClr val="1DAA87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nb-NO" dirty="0"/>
              <a:t>Underoverskrift</a:t>
            </a:r>
          </a:p>
        </p:txBody>
      </p:sp>
    </p:spTree>
    <p:extLst>
      <p:ext uri="{BB962C8B-B14F-4D97-AF65-F5344CB8AC3E}">
        <p14:creationId xmlns:p14="http://schemas.microsoft.com/office/powerpoint/2010/main" val="1947998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C65FABF-B6F2-469C-BB60-3289882AFC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9049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C65FABF-B6F2-469C-BB60-3289882AFC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72858F-EE1E-4576-838A-F5BD119F2F4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6000" b="0" i="0" baseline="0" dirty="0">
              <a:latin typeface="AvenirNext LT Pro" panose="020B0504020202020204"/>
              <a:ea typeface="+mj-ea"/>
              <a:cs typeface="Segoe UI" panose="020B0502040204020203" pitchFamily="34" charset="0"/>
              <a:sym typeface="AvenirNext LT Pro" panose="020B0504020202020204"/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6EFB6E1-7667-BD43-BA6F-916C50B8EA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343080"/>
            <a:ext cx="9144000" cy="2387600"/>
          </a:xfrm>
          <a:prstGeom prst="rect">
            <a:avLst/>
          </a:prstGeom>
        </p:spPr>
        <p:txBody>
          <a:bodyPr anchor="ctr"/>
          <a:lstStyle>
            <a:lvl1pPr algn="ctr">
              <a:defRPr sz="6000">
                <a:latin typeface="AvenirNext LT Pro" panose="020B0504020202020204"/>
                <a:cs typeface="Segoe UI" panose="020B0502040204020203" pitchFamily="34" charset="0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C1ABDDE3-B9FA-8C4E-8CB6-3B1734D612E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822755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latin typeface="AvenirNext LT Pro" panose="020B0504020202020204"/>
                <a:cs typeface="Segoe UI" panose="020B0502040204020203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dirty="0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8789555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7B61A54-81AB-4623-8C4D-0BBCEE6898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2277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7B61A54-81AB-4623-8C4D-0BBCEE6898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B4BD200-D118-43C7-A88A-B72151B950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B02E3AEA-14B9-4443-AA49-2C0F16D1A4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AE942413-3F83-401C-B4B0-CFBF3FBE9E5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53031" y="1698032"/>
            <a:ext cx="11285938" cy="44748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948140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B71F211-7D16-4329-943A-B0D9BC74BE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8953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B71F211-7D16-4329-943A-B0D9BC74BE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9633B99-61BC-40CA-BB65-0049E307427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DD3918C-AACC-7347-9D72-28EBE1E7624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3031" y="1701845"/>
            <a:ext cx="5566769" cy="4758897"/>
          </a:xfrm>
        </p:spPr>
        <p:txBody>
          <a:bodyPr>
            <a:normAutofit/>
          </a:bodyPr>
          <a:lstStyle>
            <a:lvl1pPr>
              <a:defRPr sz="1800">
                <a:latin typeface="AvenirNext LT Pro" panose="020B0504020202020204"/>
                <a:cs typeface="Segoe UI" panose="020B0502040204020203" pitchFamily="34" charset="0"/>
              </a:defRPr>
            </a:lvl1pPr>
            <a:lvl2pPr>
              <a:defRPr sz="1600">
                <a:latin typeface="AvenirNext LT Pro" panose="020B0504020202020204"/>
                <a:cs typeface="Segoe UI" panose="020B0502040204020203" pitchFamily="34" charset="0"/>
              </a:defRPr>
            </a:lvl2pPr>
            <a:lvl3pPr>
              <a:defRPr sz="1400">
                <a:latin typeface="AvenirNext LT Pro" panose="020B0504020202020204"/>
                <a:cs typeface="Segoe UI" panose="020B0502040204020203" pitchFamily="34" charset="0"/>
              </a:defRPr>
            </a:lvl3pPr>
            <a:lvl4pPr>
              <a:defRPr sz="1200">
                <a:latin typeface="AvenirNext LT Pro" panose="020B0504020202020204"/>
                <a:cs typeface="Segoe UI" panose="020B0502040204020203" pitchFamily="34" charset="0"/>
              </a:defRPr>
            </a:lvl4pPr>
            <a:lvl5pPr>
              <a:defRPr sz="1200">
                <a:latin typeface="AvenirNext LT Pro" panose="020B0504020202020204"/>
                <a:cs typeface="Segoe UI" panose="020B0502040204020203" pitchFamily="34" charset="0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C8C4A4EB-3EB5-1A46-8496-AAE858BC767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701845"/>
            <a:ext cx="5566769" cy="4758897"/>
          </a:xfrm>
        </p:spPr>
        <p:txBody>
          <a:bodyPr>
            <a:normAutofit/>
          </a:bodyPr>
          <a:lstStyle>
            <a:lvl1pPr>
              <a:defRPr sz="1800">
                <a:latin typeface="AvenirNext LT Pro" panose="020B0504020202020204"/>
                <a:cs typeface="Segoe UI" panose="020B0502040204020203" pitchFamily="34" charset="0"/>
              </a:defRPr>
            </a:lvl1pPr>
            <a:lvl2pPr>
              <a:defRPr sz="1600">
                <a:latin typeface="AvenirNext LT Pro" panose="020B0504020202020204"/>
                <a:cs typeface="Segoe UI" panose="020B0502040204020203" pitchFamily="34" charset="0"/>
              </a:defRPr>
            </a:lvl2pPr>
            <a:lvl3pPr>
              <a:defRPr sz="1400">
                <a:latin typeface="AvenirNext LT Pro" panose="020B0504020202020204"/>
                <a:cs typeface="Segoe UI" panose="020B0502040204020203" pitchFamily="34" charset="0"/>
              </a:defRPr>
            </a:lvl3pPr>
            <a:lvl4pPr>
              <a:defRPr sz="1200">
                <a:latin typeface="AvenirNext LT Pro" panose="020B0504020202020204"/>
                <a:cs typeface="Segoe UI" panose="020B0502040204020203" pitchFamily="34" charset="0"/>
              </a:defRPr>
            </a:lvl4pPr>
            <a:lvl5pPr>
              <a:defRPr sz="1200">
                <a:latin typeface="AvenirNext LT Pro" panose="020B0504020202020204"/>
                <a:cs typeface="Segoe UI" panose="020B0502040204020203" pitchFamily="34" charset="0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96D8630-25D4-4551-A93A-58B55E59F4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8685323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B685DA6-6084-4FED-8D6A-064DC36E5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1002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B685DA6-6084-4FED-8D6A-064DC36E5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8681AF2-92AE-4C26-A8B3-A251FAD7C96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B049152A-8A28-044B-A9FD-510FF02E7C9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3032" y="1701800"/>
            <a:ext cx="5544544" cy="4840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Avenir Next LT Pro" panose="020B0504020202020204" pitchFamily="34" charset="0"/>
                <a:cs typeface="Segoe UI Semibold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6DB0886C-CC0A-FE48-A1BA-37303DAC3A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3032" y="2194560"/>
            <a:ext cx="5544543" cy="4257856"/>
          </a:xfrm>
        </p:spPr>
        <p:txBody>
          <a:bodyPr>
            <a:normAutofit/>
          </a:bodyPr>
          <a:lstStyle>
            <a:lvl1pPr>
              <a:defRPr sz="1800">
                <a:latin typeface="Avenir Next LT Pro" panose="020B0504020202020204" pitchFamily="34" charset="0"/>
                <a:cs typeface="Segoe UI" panose="020B0502040204020203" pitchFamily="34" charset="0"/>
              </a:defRPr>
            </a:lvl1pPr>
            <a:lvl2pPr>
              <a:defRPr sz="1600">
                <a:latin typeface="Avenir Next LT Pro" panose="020B0504020202020204" pitchFamily="34" charset="0"/>
                <a:cs typeface="Segoe UI" panose="020B0502040204020203" pitchFamily="34" charset="0"/>
              </a:defRPr>
            </a:lvl2pPr>
            <a:lvl3pPr>
              <a:defRPr sz="1400">
                <a:latin typeface="Avenir Next LT Pro" panose="020B0504020202020204" pitchFamily="34" charset="0"/>
                <a:cs typeface="Segoe UI" panose="020B0502040204020203" pitchFamily="34" charset="0"/>
              </a:defRPr>
            </a:lvl3pPr>
            <a:lvl4pPr>
              <a:defRPr sz="1200">
                <a:latin typeface="Avenir Next LT Pro" panose="020B0504020202020204" pitchFamily="34" charset="0"/>
                <a:cs typeface="Segoe UI" panose="020B0502040204020203" pitchFamily="34" charset="0"/>
              </a:defRPr>
            </a:lvl4pPr>
            <a:lvl5pPr>
              <a:defRPr sz="1200">
                <a:latin typeface="Avenir Next LT Pro" panose="020B0504020202020204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B67AE313-0083-374B-A8A7-5E85FB50F1E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199" y="1701800"/>
            <a:ext cx="5566769" cy="484051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ctr">
            <a:normAutofit/>
          </a:bodyPr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Avenir Next LT Pro" panose="020B0504020202020204" pitchFamily="34" charset="0"/>
                <a:cs typeface="Segoe UI Semibold" panose="020B0502040204020203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D9A3155C-0BE8-244E-BEBD-7EF2DDE5027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199" y="2194560"/>
            <a:ext cx="5566769" cy="4257856"/>
          </a:xfrm>
        </p:spPr>
        <p:txBody>
          <a:bodyPr>
            <a:normAutofit/>
          </a:bodyPr>
          <a:lstStyle>
            <a:lvl1pPr>
              <a:defRPr sz="1800">
                <a:latin typeface="Avenir Next LT Pro" panose="020B0504020202020204" pitchFamily="34" charset="0"/>
                <a:cs typeface="Segoe UI" panose="020B0502040204020203" pitchFamily="34" charset="0"/>
              </a:defRPr>
            </a:lvl1pPr>
            <a:lvl2pPr>
              <a:defRPr sz="1600">
                <a:latin typeface="Avenir Next LT Pro" panose="020B0504020202020204" pitchFamily="34" charset="0"/>
                <a:cs typeface="Segoe UI" panose="020B0502040204020203" pitchFamily="34" charset="0"/>
              </a:defRPr>
            </a:lvl2pPr>
            <a:lvl3pPr>
              <a:defRPr sz="1400">
                <a:latin typeface="Avenir Next LT Pro" panose="020B0504020202020204" pitchFamily="34" charset="0"/>
                <a:cs typeface="Segoe UI" panose="020B0502040204020203" pitchFamily="34" charset="0"/>
              </a:defRPr>
            </a:lvl3pPr>
            <a:lvl4pPr>
              <a:defRPr sz="1200">
                <a:latin typeface="Avenir Next LT Pro" panose="020B0504020202020204" pitchFamily="34" charset="0"/>
                <a:cs typeface="Segoe UI" panose="020B0502040204020203" pitchFamily="34" charset="0"/>
              </a:defRPr>
            </a:lvl4pPr>
            <a:lvl5pPr>
              <a:defRPr sz="1200">
                <a:latin typeface="Avenir Next LT Pro" panose="020B0504020202020204" pitchFamily="34" charset="0"/>
                <a:cs typeface="Segoe UI" panose="020B0502040204020203" pitchFamily="34" charset="0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27E286CE-06FA-44C7-AF65-66B37BDCD5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080748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gendefinert opps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5B932EF1-06FA-404F-B363-3D3331B6DD2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>
              <a:defRPr>
                <a:latin typeface="Avenir Next LT Pro" panose="020B0504020202020204" pitchFamily="34" charset="0"/>
                <a:cs typeface="Segoe UI" panose="020B0502040204020203" pitchFamily="34" charset="0"/>
              </a:defRPr>
            </a:lvl1pPr>
          </a:lstStyle>
          <a:p>
            <a:r>
              <a:rPr lang="nb-NO" dirty="0">
                <a:latin typeface="Segoe UI" panose="020B0502040204020203" pitchFamily="34" charset="0"/>
                <a:cs typeface="Segoe UI" panose="020B0502040204020203" pitchFamily="34" charset="0"/>
              </a:rPr>
              <a:t>Klikk på ikonet for å sette inn heldekkende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616253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gendefinert opps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05B4B838-F394-DB43-8A31-6E5B124A7FC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AvenirNext LT Pro" panose="020B0504020202020204"/>
              </a:defRPr>
            </a:lvl1pPr>
          </a:lstStyle>
          <a:p>
            <a:r>
              <a:rPr lang="nb-NO" dirty="0"/>
              <a:t>Klikk på ikonet for å legge inn bilde</a:t>
            </a:r>
          </a:p>
        </p:txBody>
      </p:sp>
      <p:sp>
        <p:nvSpPr>
          <p:cNvPr id="14" name="Plassholder for tekst 13">
            <a:extLst>
              <a:ext uri="{FF2B5EF4-FFF2-40B4-BE49-F238E27FC236}">
                <a16:creationId xmlns:a16="http://schemas.microsoft.com/office/drawing/2014/main" id="{1910AE30-F732-2046-B470-DA1E6DEA1C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43688" y="784225"/>
            <a:ext cx="4964112" cy="5561013"/>
          </a:xfrm>
        </p:spPr>
        <p:txBody>
          <a:bodyPr>
            <a:normAutofit/>
          </a:bodyPr>
          <a:lstStyle>
            <a:lvl1pPr>
              <a:defRPr sz="2000">
                <a:latin typeface="AvenirNext LT Pro" panose="020B0504020202020204"/>
                <a:cs typeface="Segoe UI" panose="020B0502040204020203" pitchFamily="34" charset="0"/>
              </a:defRPr>
            </a:lvl1pPr>
            <a:lvl2pPr>
              <a:defRPr sz="1800">
                <a:latin typeface="AvenirNext LT Pro" panose="020B0504020202020204"/>
                <a:cs typeface="Segoe UI" panose="020B0502040204020203" pitchFamily="34" charset="0"/>
              </a:defRPr>
            </a:lvl2pPr>
            <a:lvl3pPr>
              <a:defRPr sz="1600">
                <a:latin typeface="AvenirNext LT Pro" panose="020B0504020202020204"/>
                <a:cs typeface="Segoe UI" panose="020B0502040204020203" pitchFamily="34" charset="0"/>
              </a:defRPr>
            </a:lvl3pPr>
            <a:lvl4pPr>
              <a:defRPr sz="1400">
                <a:latin typeface="AvenirNext LT Pro" panose="020B0504020202020204"/>
                <a:cs typeface="Segoe UI" panose="020B0502040204020203" pitchFamily="34" charset="0"/>
              </a:defRPr>
            </a:lvl4pPr>
            <a:lvl5pPr>
              <a:defRPr sz="1400">
                <a:latin typeface="AvenirNext LT Pro" panose="020B0504020202020204"/>
                <a:cs typeface="Segoe UI" panose="020B0502040204020203" pitchFamily="34" charset="0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072950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gendefinert opps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1B2AB6A-0B87-4697-97CE-5DF3CB0275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9460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1B2AB6A-0B87-4697-97CE-5DF3CB0275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24E8708-5A4B-4835-B24D-79DC084937F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0" b="0" i="0" baseline="0" dirty="0">
              <a:latin typeface="AvenirNext LT Pro" panose="020B0504020202020204"/>
              <a:ea typeface="+mj-ea"/>
              <a:cs typeface="Segoe UI" panose="020B0502040204020203" pitchFamily="34" charset="0"/>
              <a:sym typeface="AvenirNext LT Pro" panose="020B0504020202020204"/>
            </a:endParaRP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05B4B838-F394-DB43-8A31-6E5B124A7FC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AvenirNext LT Pro" panose="020B0504020202020204"/>
              </a:defRPr>
            </a:lvl1pPr>
          </a:lstStyle>
          <a:p>
            <a:r>
              <a:rPr lang="nb-NO" dirty="0"/>
              <a:t>Klikk på ikonet for å legge inn bilde</a:t>
            </a:r>
          </a:p>
        </p:txBody>
      </p:sp>
      <p:sp>
        <p:nvSpPr>
          <p:cNvPr id="14" name="Plassholder for tekst 13">
            <a:extLst>
              <a:ext uri="{FF2B5EF4-FFF2-40B4-BE49-F238E27FC236}">
                <a16:creationId xmlns:a16="http://schemas.microsoft.com/office/drawing/2014/main" id="{1910AE30-F732-2046-B470-DA1E6DEA1C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643688" y="2034073"/>
            <a:ext cx="4964112" cy="4404471"/>
          </a:xfrm>
        </p:spPr>
        <p:txBody>
          <a:bodyPr>
            <a:normAutofit/>
          </a:bodyPr>
          <a:lstStyle>
            <a:lvl1pPr>
              <a:defRPr sz="1800">
                <a:latin typeface="AvenirNext LT Pro" panose="020B0504020202020204"/>
                <a:cs typeface="Segoe UI" panose="020B0502040204020203" pitchFamily="34" charset="0"/>
              </a:defRPr>
            </a:lvl1pPr>
            <a:lvl2pPr>
              <a:defRPr sz="1600">
                <a:latin typeface="AvenirNext LT Pro" panose="020B0504020202020204"/>
                <a:cs typeface="Segoe UI" panose="020B0502040204020203" pitchFamily="34" charset="0"/>
              </a:defRPr>
            </a:lvl2pPr>
            <a:lvl3pPr>
              <a:defRPr sz="1400">
                <a:latin typeface="AvenirNext LT Pro" panose="020B0504020202020204"/>
                <a:cs typeface="Segoe UI" panose="020B0502040204020203" pitchFamily="34" charset="0"/>
              </a:defRPr>
            </a:lvl3pPr>
            <a:lvl4pPr>
              <a:defRPr sz="1200">
                <a:latin typeface="AvenirNext LT Pro" panose="020B0504020202020204"/>
                <a:cs typeface="Segoe UI" panose="020B0502040204020203" pitchFamily="34" charset="0"/>
              </a:defRPr>
            </a:lvl4pPr>
            <a:lvl5pPr>
              <a:defRPr sz="1200">
                <a:latin typeface="AvenirNext LT Pro" panose="020B0504020202020204"/>
                <a:cs typeface="Segoe UI" panose="020B0502040204020203" pitchFamily="34" charset="0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D17AECB3-39FE-8A4E-ABB6-E8592AC09B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3688" y="936574"/>
            <a:ext cx="4964113" cy="1009132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>
                <a:latin typeface="AvenirNext LT Pro" panose="020B0504020202020204"/>
                <a:cs typeface="Segoe UI" panose="020B0502040204020203" pitchFamily="34" charset="0"/>
              </a:defRPr>
            </a:lvl1pPr>
          </a:lstStyle>
          <a:p>
            <a:r>
              <a:rPr lang="nb-NO" dirty="0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4288015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 bwMode="auto">
          <a:xfrm>
            <a:off x="0" y="-120896"/>
            <a:ext cx="12192000" cy="6981395"/>
          </a:xfrm>
          <a:prstGeom prst="rect">
            <a:avLst/>
          </a:prstGeom>
          <a:solidFill>
            <a:srgbClr val="024D6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6" charset="-128"/>
            </a:endParaRPr>
          </a:p>
        </p:txBody>
      </p:sp>
      <p:pic>
        <p:nvPicPr>
          <p:cNvPr id="3" name="Bil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885" y="-120896"/>
            <a:ext cx="12192000" cy="6981395"/>
          </a:xfrm>
          <a:prstGeom prst="rect">
            <a:avLst/>
          </a:prstGeom>
        </p:spPr>
      </p:pic>
      <p:pic>
        <p:nvPicPr>
          <p:cNvPr id="4" name="Bild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365772" y="673749"/>
            <a:ext cx="1316767" cy="298545"/>
          </a:xfrm>
          <a:prstGeom prst="rect">
            <a:avLst/>
          </a:prstGeom>
        </p:spPr>
      </p:pic>
      <p:sp>
        <p:nvSpPr>
          <p:cNvPr id="7" name="Plassholder for tekst 6"/>
          <p:cNvSpPr>
            <a:spLocks noGrp="1"/>
          </p:cNvSpPr>
          <p:nvPr>
            <p:ph type="body" sz="quarter" idx="10"/>
          </p:nvPr>
        </p:nvSpPr>
        <p:spPr>
          <a:xfrm>
            <a:off x="3695700" y="260351"/>
            <a:ext cx="8257117" cy="57573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3723976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gendefinert opps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>
            <a:extLst>
              <a:ext uri="{FF2B5EF4-FFF2-40B4-BE49-F238E27FC236}">
                <a16:creationId xmlns:a16="http://schemas.microsoft.com/office/drawing/2014/main" id="{6104DB23-D985-A743-A203-5277DC4F22F7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B5B4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BA27B5BF-AAEC-9445-B420-925E4AACEC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22473" y="958850"/>
            <a:ext cx="5043054" cy="5486400"/>
          </a:xfrm>
        </p:spPr>
        <p:txBody>
          <a:bodyPr>
            <a:normAutofit/>
          </a:bodyPr>
          <a:lstStyle>
            <a:lvl1pPr>
              <a:defRPr sz="2000">
                <a:solidFill>
                  <a:schemeClr val="bg1"/>
                </a:solidFill>
                <a:latin typeface="AvenirNext LT Pro" panose="020B0504020202020204"/>
                <a:cs typeface="Segoe UI" panose="020B0502040204020203" pitchFamily="34" charset="0"/>
              </a:defRPr>
            </a:lvl1pPr>
            <a:lvl2pPr>
              <a:defRPr sz="1800">
                <a:solidFill>
                  <a:schemeClr val="bg1"/>
                </a:solidFill>
                <a:latin typeface="AvenirNext LT Pro" panose="020B0504020202020204"/>
                <a:cs typeface="Segoe UI" panose="020B0502040204020203" pitchFamily="34" charset="0"/>
              </a:defRPr>
            </a:lvl2pPr>
            <a:lvl3pPr>
              <a:defRPr sz="1600">
                <a:solidFill>
                  <a:schemeClr val="bg1"/>
                </a:solidFill>
                <a:latin typeface="AvenirNext LT Pro" panose="020B0504020202020204"/>
                <a:cs typeface="Segoe UI" panose="020B0502040204020203" pitchFamily="34" charset="0"/>
              </a:defRPr>
            </a:lvl3pPr>
            <a:lvl4pPr>
              <a:defRPr sz="1400">
                <a:solidFill>
                  <a:schemeClr val="bg1"/>
                </a:solidFill>
                <a:latin typeface="AvenirNext LT Pro" panose="020B0504020202020204"/>
                <a:cs typeface="Segoe UI" panose="020B0502040204020203" pitchFamily="34" charset="0"/>
              </a:defRPr>
            </a:lvl4pPr>
            <a:lvl5pPr>
              <a:defRPr sz="1400">
                <a:solidFill>
                  <a:schemeClr val="bg1"/>
                </a:solidFill>
                <a:latin typeface="AvenirNext LT Pro" panose="020B0504020202020204"/>
                <a:cs typeface="Segoe UI" panose="020B0502040204020203" pitchFamily="34" charset="0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50666F30-EB74-4353-984E-8879712C410F}"/>
              </a:ext>
            </a:extLst>
          </p:cNvPr>
          <p:cNvGrpSpPr/>
          <p:nvPr userDrawn="1"/>
        </p:nvGrpSpPr>
        <p:grpSpPr>
          <a:xfrm>
            <a:off x="9321800" y="0"/>
            <a:ext cx="2870200" cy="711648"/>
            <a:chOff x="4367244" y="2882900"/>
            <a:chExt cx="2870200" cy="711648"/>
          </a:xfrm>
        </p:grpSpPr>
        <p:pic>
          <p:nvPicPr>
            <p:cNvPr id="7" name="Bilde 8" descr="Et bilde som inneholder tegning&#10;&#10;Automatisk generert beskrivelse">
              <a:extLst>
                <a:ext uri="{FF2B5EF4-FFF2-40B4-BE49-F238E27FC236}">
                  <a16:creationId xmlns:a16="http://schemas.microsoft.com/office/drawing/2014/main" id="{E20C60BA-B45A-4F07-8585-94E83760DA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4367244" y="2882900"/>
              <a:ext cx="2870200" cy="54610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96CA6F0-AD14-470C-AA58-1CDE08375BC5}"/>
                </a:ext>
              </a:extLst>
            </p:cNvPr>
            <p:cNvSpPr txBox="1"/>
            <p:nvPr/>
          </p:nvSpPr>
          <p:spPr>
            <a:xfrm>
              <a:off x="4820275" y="2948217"/>
              <a:ext cx="1964138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nb-NO" b="1" dirty="0">
                  <a:solidFill>
                    <a:srgbClr val="003300"/>
                  </a:solidFill>
                </a:rPr>
                <a:t>Grønne elektriske verdikjed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24840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gendefinert opps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7674961-7C88-435A-ADCE-3AEA582755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6091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622" imgH="623" progId="TCLayout.ActiveDocument.1">
                  <p:embed/>
                </p:oleObj>
              </mc:Choice>
              <mc:Fallback>
                <p:oleObj name="think-cell Slide" r:id="rId4" imgW="622" imgH="62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7674961-7C88-435A-ADCE-3AEA582755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>
            <a:extLst>
              <a:ext uri="{FF2B5EF4-FFF2-40B4-BE49-F238E27FC236}">
                <a16:creationId xmlns:a16="http://schemas.microsoft.com/office/drawing/2014/main" id="{6104DB23-D985-A743-A203-5277DC4F22F7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B5B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latin typeface="Avenir Next LT Pro" panose="020B0504020202020204" pitchFamily="34" charset="0"/>
            </a:endParaRPr>
          </a:p>
        </p:txBody>
      </p:sp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BA27B5BF-AAEC-9445-B420-925E4AACEC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622473" y="958850"/>
            <a:ext cx="5043054" cy="548640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venirNext LT Pro" panose="020B0504020202020204"/>
                <a:cs typeface="Segoe UI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  <a:latin typeface="AvenirNext LT Pro" panose="020B0504020202020204"/>
                <a:cs typeface="Segoe UI" panose="020B0502040204020203" pitchFamily="34" charset="0"/>
              </a:defRPr>
            </a:lvl2pPr>
            <a:lvl3pPr>
              <a:defRPr>
                <a:solidFill>
                  <a:schemeClr val="bg1"/>
                </a:solidFill>
                <a:latin typeface="AvenirNext LT Pro" panose="020B0504020202020204"/>
                <a:cs typeface="Segoe UI" panose="020B0502040204020203" pitchFamily="34" charset="0"/>
              </a:defRPr>
            </a:lvl3pPr>
            <a:lvl4pPr>
              <a:defRPr>
                <a:solidFill>
                  <a:schemeClr val="bg1"/>
                </a:solidFill>
                <a:latin typeface="AvenirNext LT Pro" panose="020B0504020202020204"/>
                <a:cs typeface="Segoe UI" panose="020B0502040204020203" pitchFamily="34" charset="0"/>
              </a:defRPr>
            </a:lvl4pPr>
            <a:lvl5pPr>
              <a:defRPr>
                <a:solidFill>
                  <a:schemeClr val="bg1"/>
                </a:solidFill>
                <a:latin typeface="AvenirNext LT Pro" panose="020B0504020202020204"/>
                <a:cs typeface="Segoe UI" panose="020B0502040204020203" pitchFamily="34" charset="0"/>
              </a:defRPr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EF1208F8-D94F-CC42-B8A1-99FDB19273F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6096000" cy="6858000"/>
          </a:xfr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>
                <a:latin typeface="AvenirNext LT Pro" panose="020B0504020202020204"/>
              </a:defRPr>
            </a:lvl1pPr>
          </a:lstStyle>
          <a:p>
            <a:r>
              <a:rPr lang="nb-NO" dirty="0"/>
              <a:t>Klikk på ikonet for å sette inn bilde</a:t>
            </a:r>
          </a:p>
        </p:txBody>
      </p:sp>
    </p:spTree>
    <p:extLst>
      <p:ext uri="{BB962C8B-B14F-4D97-AF65-F5344CB8AC3E}">
        <p14:creationId xmlns:p14="http://schemas.microsoft.com/office/powerpoint/2010/main" val="27141028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164594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B7D3CF84-8DD7-4AFF-8F00-8206526139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7304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B7D3CF84-8DD7-4AFF-8F00-8206526139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9F9AC977-51BB-4C3B-A611-F76D5D6006A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A73F82-C170-4339-B76C-C3DEC8616E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1042387-298D-4F12-AF87-7DD30E48E1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3031" y="6332220"/>
            <a:ext cx="11285938" cy="312738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nb-NO" dirty="0"/>
              <a:t>&lt;Source&gt;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6618ED-7C1F-4297-886D-301774AE2A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2438" y="1701800"/>
            <a:ext cx="11287125" cy="381000"/>
          </a:xfrm>
        </p:spPr>
        <p:txBody>
          <a:bodyPr anchor="b">
            <a:norm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nb-NO" dirty="0"/>
              <a:t>Heade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95996EF-370E-4CB2-8C40-8731387DA26D}"/>
              </a:ext>
            </a:extLst>
          </p:cNvPr>
          <p:cNvCxnSpPr>
            <a:cxnSpLocks/>
          </p:cNvCxnSpPr>
          <p:nvPr userDrawn="1"/>
        </p:nvCxnSpPr>
        <p:spPr>
          <a:xfrm>
            <a:off x="452438" y="2090040"/>
            <a:ext cx="11286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125606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B7D3CF84-8DD7-4AFF-8F00-8206526139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2026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B7D3CF84-8DD7-4AFF-8F00-8206526139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9F9AC977-51BB-4C3B-A611-F76D5D6006A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A73F82-C170-4339-B76C-C3DEC8616E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1042387-298D-4F12-AF87-7DD30E48E1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3031" y="6332220"/>
            <a:ext cx="11285938" cy="312738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nb-NO" dirty="0"/>
              <a:t>&lt;Source&gt;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6618ED-7C1F-4297-886D-301774AE2A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2438" y="1701800"/>
            <a:ext cx="5512933" cy="381000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nb-NO" dirty="0"/>
              <a:t>Header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95996EF-370E-4CB2-8C40-8731387DA26D}"/>
              </a:ext>
            </a:extLst>
          </p:cNvPr>
          <p:cNvCxnSpPr>
            <a:cxnSpLocks/>
          </p:cNvCxnSpPr>
          <p:nvPr userDrawn="1"/>
        </p:nvCxnSpPr>
        <p:spPr>
          <a:xfrm>
            <a:off x="452438" y="2090040"/>
            <a:ext cx="5512384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3161AF7-50C3-407B-9E22-61D0421F942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26631" y="1709040"/>
            <a:ext cx="5512933" cy="381000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nb-NO" dirty="0"/>
              <a:t>Header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504BA84-BADE-4B84-9FDD-2004EDB80947}"/>
              </a:ext>
            </a:extLst>
          </p:cNvPr>
          <p:cNvCxnSpPr>
            <a:cxnSpLocks/>
          </p:cNvCxnSpPr>
          <p:nvPr userDrawn="1"/>
        </p:nvCxnSpPr>
        <p:spPr>
          <a:xfrm>
            <a:off x="6226631" y="2097280"/>
            <a:ext cx="5512384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0995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B7D3CF84-8DD7-4AFF-8F00-8206526139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4989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B7D3CF84-8DD7-4AFF-8F00-8206526139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9F9AC977-51BB-4C3B-A611-F76D5D6006A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A73F82-C170-4339-B76C-C3DEC8616E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1042387-298D-4F12-AF87-7DD30E48E1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3031" y="6332220"/>
            <a:ext cx="11285938" cy="312738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nb-NO" dirty="0"/>
              <a:t>&lt;Source&gt;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6618ED-7C1F-4297-886D-301774AE2A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2438" y="1701800"/>
            <a:ext cx="5512933" cy="381000"/>
          </a:xfrm>
          <a:solidFill>
            <a:schemeClr val="accent1"/>
          </a:solidFill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Header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3161AF7-50C3-407B-9E22-61D0421F942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26631" y="1709040"/>
            <a:ext cx="5512933" cy="381000"/>
          </a:xfrm>
          <a:solidFill>
            <a:schemeClr val="accent1"/>
          </a:solidFill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41668432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B7D3CF84-8DD7-4AFF-8F00-8206526139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0286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B7D3CF84-8DD7-4AFF-8F00-8206526139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 hidden="1">
            <a:extLst>
              <a:ext uri="{FF2B5EF4-FFF2-40B4-BE49-F238E27FC236}">
                <a16:creationId xmlns:a16="http://schemas.microsoft.com/office/drawing/2014/main" id="{9F9AC977-51BB-4C3B-A611-F76D5D6006A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9A73F82-C170-4339-B76C-C3DEC8616E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1042387-298D-4F12-AF87-7DD30E48E1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3031" y="6332220"/>
            <a:ext cx="11285938" cy="312738"/>
          </a:xfrm>
        </p:spPr>
        <p:txBody>
          <a:bodyPr>
            <a:norm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nb-NO" dirty="0"/>
              <a:t>&lt;Source&gt;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46618ED-7C1F-4297-886D-301774AE2A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52438" y="1701800"/>
            <a:ext cx="5512933" cy="381000"/>
          </a:xfrm>
          <a:solidFill>
            <a:schemeClr val="accent1"/>
          </a:solidFill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Header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3161AF7-50C3-407B-9E22-61D0421F942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26631" y="1709040"/>
            <a:ext cx="5512933" cy="381000"/>
          </a:xfrm>
          <a:solidFill>
            <a:schemeClr val="accent1"/>
          </a:solidFill>
        </p:spPr>
        <p:txBody>
          <a:bodyPr anchor="b">
            <a:normAutofit/>
          </a:bodyPr>
          <a:lstStyle>
            <a:lvl1pPr marL="0" indent="0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Head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97F71B-292E-434B-B587-A9DBE05DEB2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3031" y="2082029"/>
            <a:ext cx="5512340" cy="40306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831A3BD-1D89-43CA-8815-2CCA61DE164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26631" y="2090738"/>
            <a:ext cx="5512338" cy="4022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067665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5400503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7BAEFD5-0EFD-45CB-9028-C2E4415351C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chemeClr val="tx1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24B3D14-9CEC-4F59-B5E7-B9B4A20301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442448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16F2D5F-02AB-408E-A9D3-E4B8F97BB2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DB3231-6BAC-184C-A157-78528666BDAE}" type="datetimeFigureOut">
              <a:rPr lang="nb-NO" smtClean="0"/>
              <a:t>28.08.2020</a:t>
            </a:fld>
            <a:endParaRPr lang="nb-NO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49550CB-EFD1-473B-A485-2C46AEFCEA7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E4FF7F3-FBEF-4C84-91E6-23AC71126F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A38E52-6399-BB49-8E01-B0FECF7C009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439869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BA1E9F97-8B53-4F06-A94C-D75872890D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75271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BA1E9F97-8B53-4F06-A94C-D75872890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211B2881-1766-43AD-B781-C14A5C249B4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0375D1C-9E90-4B8F-BCE3-183B66D95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D778646F-8726-4FC8-9EF2-C351B037F9E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DB3231-6BAC-184C-A157-78528666BDAE}" type="datetimeFigureOut">
              <a:rPr lang="nb-NO" smtClean="0"/>
              <a:t>28.08.2020</a:t>
            </a:fld>
            <a:endParaRPr lang="nb-NO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095A6B9-C333-4939-9C7B-462B69E23C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126FCFC-F768-4992-B0E6-E569D0C687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A38E52-6399-BB49-8E01-B0FECF7C009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654715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bo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 bwMode="auto">
          <a:xfrm>
            <a:off x="0" y="-120896"/>
            <a:ext cx="12192000" cy="6981395"/>
          </a:xfrm>
          <a:prstGeom prst="rect">
            <a:avLst/>
          </a:prstGeom>
          <a:solidFill>
            <a:srgbClr val="024D6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6" charset="-128"/>
            </a:endParaRPr>
          </a:p>
        </p:txBody>
      </p:sp>
      <p:pic>
        <p:nvPicPr>
          <p:cNvPr id="3" name="Bild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19406"/>
            <a:ext cx="12192000" cy="6981395"/>
          </a:xfrm>
          <a:prstGeom prst="rect">
            <a:avLst/>
          </a:prstGeom>
        </p:spPr>
      </p:pic>
      <p:pic>
        <p:nvPicPr>
          <p:cNvPr id="4" name="Bild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365772" y="673749"/>
            <a:ext cx="1316767" cy="298545"/>
          </a:xfrm>
          <a:prstGeom prst="rect">
            <a:avLst/>
          </a:prstGeom>
        </p:spPr>
      </p:pic>
      <p:sp>
        <p:nvSpPr>
          <p:cNvPr id="7" name="Plassholder for tekst 6"/>
          <p:cNvSpPr>
            <a:spLocks noGrp="1"/>
          </p:cNvSpPr>
          <p:nvPr>
            <p:ph type="body" sz="quarter" idx="10"/>
          </p:nvPr>
        </p:nvSpPr>
        <p:spPr>
          <a:xfrm>
            <a:off x="3695700" y="260351"/>
            <a:ext cx="8257117" cy="57573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tekst 5"/>
          <p:cNvSpPr>
            <a:spLocks noGrp="1"/>
          </p:cNvSpPr>
          <p:nvPr>
            <p:ph type="body" sz="quarter" idx="11"/>
          </p:nvPr>
        </p:nvSpPr>
        <p:spPr>
          <a:xfrm>
            <a:off x="1487488" y="1222379"/>
            <a:ext cx="8544949" cy="307340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800"/>
              </a:lnSpc>
              <a:spcBef>
                <a:spcPts val="0"/>
              </a:spcBef>
              <a:buNone/>
              <a:defRPr sz="2133" baseline="0">
                <a:solidFill>
                  <a:schemeClr val="accent2"/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2"/>
                </a:solidFill>
              </a:defRPr>
            </a:lvl3pPr>
            <a:lvl4pPr>
              <a:defRPr>
                <a:solidFill>
                  <a:schemeClr val="accent2"/>
                </a:solidFill>
              </a:defRPr>
            </a:lvl4pPr>
            <a:lvl5pP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nb-NO"/>
              <a:t>Rediger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7449501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5931922"/>
              </p:ext>
            </p:extLst>
          </p:nvPr>
        </p:nvGraphicFramePr>
        <p:xfrm>
          <a:off x="1621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5" imgW="359" imgH="358" progId="TCLayout.ActiveDocument.1">
                  <p:embed/>
                </p:oleObj>
              </mc:Choice>
              <mc:Fallback>
                <p:oleObj name="think-cell Slide" r:id="rId5" imgW="359" imgH="35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A2B0AFC-11BC-4CC0-9AD8-01698FCECB5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61977" cy="161974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5998" b="0" i="0" baseline="0">
              <a:solidFill>
                <a:schemeClr val="tx1"/>
              </a:solidFill>
              <a:latin typeface="Segoe UI Semibold" panose="020B0702040204020203" pitchFamily="34" charset="0"/>
              <a:ea typeface="ＭＳ Ｐゴシック" panose="020B0600070205080204" pitchFamily="34" charset="-128"/>
              <a:cs typeface="+mj-cs"/>
              <a:sym typeface="Segoe UI Semibold" panose="020B0702040204020203" pitchFamily="34" charset="0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52A3D589-1C65-4F55-B63F-388860968A57}"/>
              </a:ext>
            </a:extLst>
          </p:cNvPr>
          <p:cNvSpPr/>
          <p:nvPr userDrawn="1"/>
        </p:nvSpPr>
        <p:spPr>
          <a:xfrm>
            <a:off x="0" y="1155345"/>
            <a:ext cx="9942043" cy="5711121"/>
          </a:xfrm>
          <a:custGeom>
            <a:avLst/>
            <a:gdLst>
              <a:gd name="connsiteX0" fmla="*/ 0 w 7456532"/>
              <a:gd name="connsiteY0" fmla="*/ 0 h 4284663"/>
              <a:gd name="connsiteX1" fmla="*/ 7300913 w 7456532"/>
              <a:gd name="connsiteY1" fmla="*/ 0 h 4284663"/>
              <a:gd name="connsiteX2" fmla="*/ 7456532 w 7456532"/>
              <a:gd name="connsiteY2" fmla="*/ 262416 h 4284663"/>
              <a:gd name="connsiteX3" fmla="*/ 7456532 w 7456532"/>
              <a:gd name="connsiteY3" fmla="*/ 283832 h 4284663"/>
              <a:gd name="connsiteX4" fmla="*/ 5116513 w 7456532"/>
              <a:gd name="connsiteY4" fmla="*/ 4284663 h 4284663"/>
              <a:gd name="connsiteX5" fmla="*/ 0 w 7456532"/>
              <a:gd name="connsiteY5" fmla="*/ 4284663 h 4284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456532" h="4284663">
                <a:moveTo>
                  <a:pt x="0" y="0"/>
                </a:moveTo>
                <a:lnTo>
                  <a:pt x="7300913" y="0"/>
                </a:lnTo>
                <a:lnTo>
                  <a:pt x="7456532" y="262416"/>
                </a:lnTo>
                <a:lnTo>
                  <a:pt x="7456532" y="283832"/>
                </a:lnTo>
                <a:lnTo>
                  <a:pt x="5116513" y="4284663"/>
                </a:lnTo>
                <a:lnTo>
                  <a:pt x="0" y="4284663"/>
                </a:lnTo>
                <a:close/>
              </a:path>
            </a:pathLst>
          </a:cu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399">
              <a:solidFill>
                <a:schemeClr val="tx1"/>
              </a:solidFill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731791E7-952E-486B-A2D1-2918821FB8DB}"/>
              </a:ext>
            </a:extLst>
          </p:cNvPr>
          <p:cNvSpPr/>
          <p:nvPr userDrawn="1"/>
        </p:nvSpPr>
        <p:spPr>
          <a:xfrm>
            <a:off x="9942043" y="1155343"/>
            <a:ext cx="2260600" cy="4198171"/>
          </a:xfrm>
          <a:custGeom>
            <a:avLst/>
            <a:gdLst>
              <a:gd name="connsiteX0" fmla="*/ 160338 w 1695450"/>
              <a:gd name="connsiteY0" fmla="*/ 0 h 3149600"/>
              <a:gd name="connsiteX1" fmla="*/ 1695450 w 1695450"/>
              <a:gd name="connsiteY1" fmla="*/ 0 h 3149600"/>
              <a:gd name="connsiteX2" fmla="*/ 1695450 w 1695450"/>
              <a:gd name="connsiteY2" fmla="*/ 3149600 h 3149600"/>
              <a:gd name="connsiteX3" fmla="*/ 0 w 1695450"/>
              <a:gd name="connsiteY3" fmla="*/ 273050 h 3149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95450" h="3149600">
                <a:moveTo>
                  <a:pt x="160338" y="0"/>
                </a:moveTo>
                <a:lnTo>
                  <a:pt x="1695450" y="0"/>
                </a:lnTo>
                <a:lnTo>
                  <a:pt x="1695450" y="3149600"/>
                </a:lnTo>
                <a:lnTo>
                  <a:pt x="0" y="273050"/>
                </a:lnTo>
                <a:close/>
              </a:path>
            </a:pathLst>
          </a:custGeom>
          <a:solidFill>
            <a:srgbClr val="CAEAE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399">
              <a:solidFill>
                <a:schemeClr val="tx1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600000" y="1566997"/>
            <a:ext cx="7243520" cy="175381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5998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edit</a:t>
            </a:r>
            <a:r>
              <a:rPr lang="nb-NO" noProof="0"/>
              <a:t> Master </a:t>
            </a:r>
            <a:r>
              <a:rPr lang="nb-NO" noProof="0" err="1"/>
              <a:t>title</a:t>
            </a:r>
            <a:r>
              <a:rPr lang="nb-NO" noProof="0"/>
              <a:t>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00000" y="4564207"/>
            <a:ext cx="7243520" cy="350737"/>
          </a:xfrm>
        </p:spPr>
        <p:txBody>
          <a:bodyPr wrap="square">
            <a:spAutoFit/>
          </a:bodyPr>
          <a:lstStyle>
            <a:lvl1pPr>
              <a:defRPr sz="1866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nb-NO" noProof="0" err="1"/>
              <a:t>Click</a:t>
            </a:r>
            <a:r>
              <a:rPr lang="nb-NO" noProof="0"/>
              <a:t> to </a:t>
            </a:r>
            <a:r>
              <a:rPr lang="nb-NO" noProof="0" err="1"/>
              <a:t>edit</a:t>
            </a:r>
            <a:r>
              <a:rPr lang="nb-NO" noProof="0"/>
              <a:t> Master </a:t>
            </a:r>
            <a:r>
              <a:rPr lang="nb-NO" noProof="0" err="1"/>
              <a:t>subtitle</a:t>
            </a:r>
            <a:r>
              <a:rPr lang="nb-NO" noProof="0"/>
              <a:t> style</a:t>
            </a:r>
          </a:p>
        </p:txBody>
      </p:sp>
      <p:sp>
        <p:nvSpPr>
          <p:cNvPr id="17" name="Document type" hidden="1">
            <a:extLst>
              <a:ext uri="{FF2B5EF4-FFF2-40B4-BE49-F238E27FC236}">
                <a16:creationId xmlns:a16="http://schemas.microsoft.com/office/drawing/2014/main" id="{5A27C1B4-7903-4B4D-A4A0-9831DB343A94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600000" y="5718706"/>
            <a:ext cx="6226971" cy="2460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nb-NO" sz="1599" baseline="0" noProof="0">
                <a:solidFill>
                  <a:schemeClr val="bg1"/>
                </a:solidFill>
                <a:latin typeface="+mn-lt"/>
              </a:rPr>
              <a:t>Dokument</a:t>
            </a:r>
          </a:p>
        </p:txBody>
      </p:sp>
      <p:sp>
        <p:nvSpPr>
          <p:cNvPr id="18" name="Date" hidden="1">
            <a:extLst>
              <a:ext uri="{FF2B5EF4-FFF2-40B4-BE49-F238E27FC236}">
                <a16:creationId xmlns:a16="http://schemas.microsoft.com/office/drawing/2014/main" id="{BD1380DB-9F8A-4766-BA70-85C2F1E1E927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99947" y="6070685"/>
            <a:ext cx="6226971" cy="2460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nb-NO" sz="1599" baseline="0" noProof="0">
                <a:solidFill>
                  <a:schemeClr val="bg1"/>
                </a:solidFill>
                <a:latin typeface="+mn-lt"/>
              </a:rPr>
              <a:t>Dato</a:t>
            </a:r>
          </a:p>
        </p:txBody>
      </p:sp>
      <p:pic>
        <p:nvPicPr>
          <p:cNvPr id="21" name="Picture 417" descr="Znalezione obrazy dla zapytania: nho logo&quot;">
            <a:extLst>
              <a:ext uri="{FF2B5EF4-FFF2-40B4-BE49-F238E27FC236}">
                <a16:creationId xmlns:a16="http://schemas.microsoft.com/office/drawing/2014/main" id="{E802EC6F-7CEE-4FD1-8C58-A7BD5FF9CAA7}"/>
              </a:ext>
            </a:extLst>
          </p:cNvPr>
          <p:cNvPicPr>
            <a:picLocks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072" y="479912"/>
            <a:ext cx="1219203" cy="2888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99897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A65FC82-E0D7-4239-963E-65F15D86B1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63475947"/>
              </p:ext>
            </p:extLst>
          </p:nvPr>
        </p:nvGraphicFramePr>
        <p:xfrm>
          <a:off x="2118" y="2117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A65FC82-E0D7-4239-963E-65F15D86B1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7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D23D7A1-045D-479A-AF93-E71845065E1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01"/>
          </a:xfrm>
          <a:prstGeom prst="rect">
            <a:avLst/>
          </a:prstGeom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666" b="1" i="0" baseline="0" err="1">
              <a:solidFill>
                <a:schemeClr val="tx1"/>
              </a:solidFill>
              <a:latin typeface="Segoe UI Semibold" panose="020B0702040204020203" pitchFamily="34" charset="0"/>
              <a:ea typeface="ＭＳ Ｐゴシック" panose="020B0600070205080204" pitchFamily="34" charset="-128"/>
              <a:cs typeface="+mj-cs"/>
              <a:sym typeface="Segoe UI Semibold" panose="020B0702040204020203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9F5DBC-7632-4786-9A45-E1D10B71E7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292250-46CB-4EF9-B41B-1FEAD52DA0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nb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12C18D-3F22-4B9E-8663-44E9F3A655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B8E09E-CC24-42CF-9659-8BCA74AE47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noProof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62790F-E9D0-4B98-9F7D-425FDAADB7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DC95F-CC9E-42B9-BFE4-A015B12872CC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3778609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på én linje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599999" y="1035916"/>
            <a:ext cx="10992052" cy="625296"/>
          </a:xfrm>
        </p:spPr>
        <p:txBody>
          <a:bodyPr anchor="t"/>
          <a:lstStyle>
            <a:lvl1pPr>
              <a:defRPr/>
            </a:lvl1pPr>
          </a:lstStyle>
          <a:p>
            <a:r>
              <a:rPr lang="nb-NO" noProof="0"/>
              <a:t>Klikk for å legge til en titte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99947" y="1941091"/>
            <a:ext cx="10992052" cy="3937308"/>
          </a:xfrm>
        </p:spPr>
        <p:txBody>
          <a:bodyPr/>
          <a:lstStyle/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5DC95F-CC9E-42B9-BFE4-A015B12872CC}" type="slidenum">
              <a:rPr lang="nb-NO" noProof="0" smtClean="0"/>
              <a:t>‹#›</a:t>
            </a:fld>
            <a:endParaRPr lang="nb-NO" noProof="0"/>
          </a:p>
        </p:txBody>
      </p:sp>
      <p:sp>
        <p:nvSpPr>
          <p:cNvPr id="8" name="Plassholder for tekst 2"/>
          <p:cNvSpPr>
            <a:spLocks noGrp="1"/>
          </p:cNvSpPr>
          <p:nvPr>
            <p:ph type="body" sz="quarter" idx="17" hasCustomPrompt="1"/>
          </p:nvPr>
        </p:nvSpPr>
        <p:spPr>
          <a:xfrm>
            <a:off x="600000" y="457496"/>
            <a:ext cx="7920989" cy="3651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599">
                <a:solidFill>
                  <a:srgbClr val="AFAFAF"/>
                </a:solidFill>
                <a:latin typeface="+mj-lt"/>
              </a:defRPr>
            </a:lvl1pPr>
          </a:lstStyle>
          <a:p>
            <a:pPr lvl="0"/>
            <a:r>
              <a:rPr lang="nb-NO"/>
              <a:t>Tema</a:t>
            </a:r>
          </a:p>
        </p:txBody>
      </p:sp>
    </p:spTree>
    <p:extLst>
      <p:ext uri="{BB962C8B-B14F-4D97-AF65-F5344CB8AC3E}">
        <p14:creationId xmlns:p14="http://schemas.microsoft.com/office/powerpoint/2010/main" val="33663752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ørste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 bwMode="auto">
          <a:xfrm>
            <a:off x="0" y="-123395"/>
            <a:ext cx="12192000" cy="6981395"/>
          </a:xfrm>
          <a:prstGeom prst="rect">
            <a:avLst/>
          </a:prstGeom>
          <a:solidFill>
            <a:srgbClr val="024D6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6" charset="-128"/>
            </a:endParaRPr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365772" y="673749"/>
            <a:ext cx="1316767" cy="298545"/>
          </a:xfrm>
          <a:prstGeom prst="rect">
            <a:avLst/>
          </a:prstGeom>
        </p:spPr>
      </p:pic>
      <p:pic>
        <p:nvPicPr>
          <p:cNvPr id="16" name="Bilde 1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0896"/>
            <a:ext cx="12432704" cy="6981395"/>
          </a:xfrm>
          <a:prstGeom prst="rect">
            <a:avLst/>
          </a:prstGeom>
        </p:spPr>
      </p:pic>
      <p:sp>
        <p:nvSpPr>
          <p:cNvPr id="6" name="Plassholder for tekst 5"/>
          <p:cNvSpPr>
            <a:spLocks noGrp="1"/>
          </p:cNvSpPr>
          <p:nvPr>
            <p:ph type="body" sz="quarter" idx="10" hasCustomPrompt="1"/>
          </p:nvPr>
        </p:nvSpPr>
        <p:spPr>
          <a:xfrm>
            <a:off x="2927648" y="1892830"/>
            <a:ext cx="4415432" cy="3847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accent2"/>
                </a:solidFill>
              </a:defRPr>
            </a:lvl1pPr>
            <a:lvl2pPr>
              <a:defRPr baseline="0">
                <a:solidFill>
                  <a:schemeClr val="accent2"/>
                </a:solidFill>
              </a:defRPr>
            </a:lvl2pPr>
            <a:lvl3pPr>
              <a:defRPr baseline="0">
                <a:solidFill>
                  <a:schemeClr val="accent2"/>
                </a:solidFill>
              </a:defRPr>
            </a:lvl3pPr>
            <a:lvl4pPr>
              <a:defRPr baseline="0">
                <a:solidFill>
                  <a:schemeClr val="accent2"/>
                </a:solidFill>
              </a:defRPr>
            </a:lvl4pPr>
            <a:lvl5pPr>
              <a:defRPr baseline="0">
                <a:solidFill>
                  <a:schemeClr val="accent2"/>
                </a:solidFill>
              </a:defRPr>
            </a:lvl5pPr>
          </a:lstStyle>
          <a:p>
            <a:pPr lvl="0"/>
            <a:r>
              <a:rPr lang="nb-NO"/>
              <a:t>Sted og dato</a:t>
            </a:r>
          </a:p>
        </p:txBody>
      </p:sp>
      <p:sp>
        <p:nvSpPr>
          <p:cNvPr id="9" name="Plassholder for tekst 8"/>
          <p:cNvSpPr>
            <a:spLocks noGrp="1"/>
          </p:cNvSpPr>
          <p:nvPr>
            <p:ph type="body" sz="quarter" idx="11" hasCustomPrompt="1"/>
          </p:nvPr>
        </p:nvSpPr>
        <p:spPr>
          <a:xfrm>
            <a:off x="2927648" y="2660915"/>
            <a:ext cx="5855592" cy="57573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1" baseline="0">
                <a:solidFill>
                  <a:schemeClr val="accent2"/>
                </a:solidFill>
              </a:defRPr>
            </a:lvl1pPr>
            <a:lvl2pPr>
              <a:defRPr baseline="0">
                <a:solidFill>
                  <a:schemeClr val="accent2"/>
                </a:solidFill>
              </a:defRPr>
            </a:lvl2pPr>
            <a:lvl3pPr>
              <a:defRPr baseline="0">
                <a:solidFill>
                  <a:schemeClr val="accent2"/>
                </a:solidFill>
              </a:defRPr>
            </a:lvl3pPr>
            <a:lvl4pPr>
              <a:defRPr baseline="0">
                <a:solidFill>
                  <a:schemeClr val="accent2"/>
                </a:solidFill>
              </a:defRPr>
            </a:lvl4pPr>
            <a:lvl5pPr>
              <a:defRPr baseline="0">
                <a:solidFill>
                  <a:schemeClr val="accent2"/>
                </a:solidFill>
              </a:defRPr>
            </a:lvl5pPr>
          </a:lstStyle>
          <a:p>
            <a:pPr lvl="0"/>
            <a:r>
              <a:rPr lang="nb-NO"/>
              <a:t>Tittel på presentasjon</a:t>
            </a:r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2" hasCustomPrompt="1"/>
          </p:nvPr>
        </p:nvSpPr>
        <p:spPr>
          <a:xfrm>
            <a:off x="2927649" y="3197899"/>
            <a:ext cx="4607983" cy="2878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accent2"/>
                </a:solidFill>
              </a:defRPr>
            </a:lvl1pPr>
            <a:lvl2pPr>
              <a:defRPr baseline="0">
                <a:solidFill>
                  <a:schemeClr val="accent2"/>
                </a:solidFill>
              </a:defRPr>
            </a:lvl2pPr>
            <a:lvl3pPr>
              <a:defRPr baseline="0">
                <a:solidFill>
                  <a:schemeClr val="accent2"/>
                </a:solidFill>
              </a:defRPr>
            </a:lvl3pPr>
            <a:lvl4pPr>
              <a:defRPr baseline="0">
                <a:solidFill>
                  <a:schemeClr val="accent2"/>
                </a:solidFill>
              </a:defRPr>
            </a:lvl4pPr>
            <a:lvl5pPr>
              <a:defRPr baseline="0">
                <a:solidFill>
                  <a:schemeClr val="accent2"/>
                </a:solidFill>
              </a:defRPr>
            </a:lvl5pPr>
          </a:lstStyle>
          <a:p>
            <a:pPr lvl="0"/>
            <a:r>
              <a:rPr lang="nb-NO"/>
              <a:t>Navn og tittel</a:t>
            </a:r>
          </a:p>
        </p:txBody>
      </p:sp>
      <p:sp>
        <p:nvSpPr>
          <p:cNvPr id="13" name="Plassholder for tekst 12"/>
          <p:cNvSpPr>
            <a:spLocks noGrp="1"/>
          </p:cNvSpPr>
          <p:nvPr>
            <p:ph type="body" sz="quarter" idx="13"/>
          </p:nvPr>
        </p:nvSpPr>
        <p:spPr>
          <a:xfrm>
            <a:off x="2927649" y="3847235"/>
            <a:ext cx="4991100" cy="4783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aseline="0">
                <a:solidFill>
                  <a:schemeClr val="accent2"/>
                </a:solidFill>
              </a:defRPr>
            </a:lvl1pPr>
            <a:lvl2pPr>
              <a:defRPr sz="1600" baseline="0">
                <a:solidFill>
                  <a:schemeClr val="accent2"/>
                </a:solidFill>
              </a:defRPr>
            </a:lvl2pPr>
            <a:lvl3pPr>
              <a:defRPr sz="1600" baseline="0">
                <a:solidFill>
                  <a:schemeClr val="accent2"/>
                </a:solidFill>
              </a:defRPr>
            </a:lvl3pPr>
            <a:lvl4pPr>
              <a:defRPr sz="1600" baseline="0">
                <a:solidFill>
                  <a:schemeClr val="accent2"/>
                </a:solidFill>
              </a:defRPr>
            </a:lvl4pPr>
            <a:lvl5pPr>
              <a:defRPr sz="1600" baseline="0">
                <a:solidFill>
                  <a:schemeClr val="accent2"/>
                </a:solidFill>
              </a:defRPr>
            </a:lvl5pPr>
          </a:lstStyle>
          <a:p>
            <a:pPr lvl="0"/>
            <a:r>
              <a:rPr lang="nb-NO"/>
              <a:t>Rediger tekststiler i malen</a:t>
            </a:r>
          </a:p>
        </p:txBody>
      </p:sp>
      <p:cxnSp>
        <p:nvCxnSpPr>
          <p:cNvPr id="15" name="Rett linje 14"/>
          <p:cNvCxnSpPr/>
          <p:nvPr userDrawn="1"/>
        </p:nvCxnSpPr>
        <p:spPr>
          <a:xfrm>
            <a:off x="3022600" y="3581941"/>
            <a:ext cx="6144683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10548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6">
            <a:extLst>
              <a:ext uri="{FF2B5EF4-FFF2-40B4-BE49-F238E27FC236}">
                <a16:creationId xmlns:a16="http://schemas.microsoft.com/office/drawing/2014/main" id="{384E324A-B479-4583-BC78-82A6B6102B5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695700" y="260351"/>
            <a:ext cx="8257117" cy="57573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2400"/>
            </a:lvl1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A12C8AD7-C580-4990-974C-B19A7819DFC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88380" y="1224001"/>
            <a:ext cx="9006000" cy="263422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nb-NO"/>
              <a:t>Skriv inn tekst her</a:t>
            </a:r>
          </a:p>
        </p:txBody>
      </p:sp>
    </p:spTree>
    <p:extLst>
      <p:ext uri="{BB962C8B-B14F-4D97-AF65-F5344CB8AC3E}">
        <p14:creationId xmlns:p14="http://schemas.microsoft.com/office/powerpoint/2010/main" val="39840743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 mø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2BF3A780-C7E5-43A1-B2CA-0A565E0BFA56}"/>
              </a:ext>
            </a:extLst>
          </p:cNvPr>
          <p:cNvSpPr/>
          <p:nvPr userDrawn="1"/>
        </p:nvSpPr>
        <p:spPr bwMode="auto">
          <a:xfrm>
            <a:off x="0" y="-120896"/>
            <a:ext cx="12192000" cy="6981395"/>
          </a:xfrm>
          <a:prstGeom prst="rect">
            <a:avLst/>
          </a:prstGeom>
          <a:solidFill>
            <a:srgbClr val="024D6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21920" tIns="60960" rIns="121920" bIns="6096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3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16" charset="-128"/>
            </a:endParaRP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C4EC37C8-E231-4327-991B-4B67C38FD2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20896"/>
            <a:ext cx="12633885" cy="6981395"/>
          </a:xfrm>
          <a:prstGeom prst="rect">
            <a:avLst/>
          </a:prstGeom>
        </p:spPr>
      </p:pic>
      <p:pic>
        <p:nvPicPr>
          <p:cNvPr id="11" name="Bilde 10">
            <a:extLst>
              <a:ext uri="{FF2B5EF4-FFF2-40B4-BE49-F238E27FC236}">
                <a16:creationId xmlns:a16="http://schemas.microsoft.com/office/drawing/2014/main" id="{6B109A8C-85B2-420D-9D89-42AC389FDB0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365772" y="673749"/>
            <a:ext cx="1316767" cy="298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13457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65962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sz="quarter" idx="10" hasCustomPrompt="1"/>
          </p:nvPr>
        </p:nvSpPr>
        <p:spPr>
          <a:xfrm>
            <a:off x="2831637" y="2564904"/>
            <a:ext cx="6624736" cy="480053"/>
          </a:xfrm>
          <a:prstGeom prst="rect">
            <a:avLst/>
          </a:prstGeom>
          <a:solidFill>
            <a:schemeClr val="tx2">
              <a:alpha val="61000"/>
            </a:schemeClr>
          </a:solidFill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2400">
                <a:solidFill>
                  <a:schemeClr val="accent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4267" b="1">
                <a:solidFill>
                  <a:schemeClr val="accent2"/>
                </a:solidFill>
              </a:defRPr>
            </a:lvl2pPr>
          </a:lstStyle>
          <a:p>
            <a:pPr lvl="0"/>
            <a:r>
              <a:rPr lang="nb-NO"/>
              <a:t>Underheading</a:t>
            </a:r>
          </a:p>
        </p:txBody>
      </p:sp>
      <p:sp>
        <p:nvSpPr>
          <p:cNvPr id="4" name="Plassholder for tekst 2"/>
          <p:cNvSpPr>
            <a:spLocks noGrp="1"/>
          </p:cNvSpPr>
          <p:nvPr>
            <p:ph type="body" sz="quarter" idx="11" hasCustomPrompt="1"/>
          </p:nvPr>
        </p:nvSpPr>
        <p:spPr>
          <a:xfrm>
            <a:off x="2831637" y="3044957"/>
            <a:ext cx="6624736" cy="1056119"/>
          </a:xfrm>
          <a:prstGeom prst="rect">
            <a:avLst/>
          </a:prstGeom>
          <a:solidFill>
            <a:schemeClr val="tx2">
              <a:alpha val="61000"/>
            </a:schemeClr>
          </a:solidFill>
        </p:spPr>
        <p:txBody>
          <a:bodyPr/>
          <a:lstStyle>
            <a:lvl1pPr marL="0" indent="0" algn="l">
              <a:buFont typeface="Arial" panose="020B0604020202020204" pitchFamily="34" charset="0"/>
              <a:buNone/>
              <a:defRPr sz="4267" b="1">
                <a:solidFill>
                  <a:schemeClr val="accent2"/>
                </a:solidFill>
              </a:defRPr>
            </a:lvl1pPr>
            <a:lvl2pPr marL="0" indent="0" algn="l">
              <a:buFont typeface="Arial" panose="020B0604020202020204" pitchFamily="34" charset="0"/>
              <a:buNone/>
              <a:defRPr sz="4267" b="1">
                <a:solidFill>
                  <a:schemeClr val="accent2"/>
                </a:solidFill>
              </a:defRPr>
            </a:lvl2pPr>
          </a:lstStyle>
          <a:p>
            <a:pPr lvl="0"/>
            <a:r>
              <a:rPr lang="nb-NO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2172455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, tekst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581702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13.xml"/><Relationship Id="rId21" Type="http://schemas.openxmlformats.org/officeDocument/2006/relationships/slideLayout" Target="../slideLayouts/slideLayout31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0" Type="http://schemas.openxmlformats.org/officeDocument/2006/relationships/slideLayout" Target="../slideLayouts/slideLayout30.xml"/><Relationship Id="rId29" Type="http://schemas.openxmlformats.org/officeDocument/2006/relationships/image" Target="../media/image5.png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theme" Target="../theme/theme2.xml"/><Relationship Id="rId28" Type="http://schemas.openxmlformats.org/officeDocument/2006/relationships/image" Target="../media/image4.emf"/><Relationship Id="rId10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9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3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24" y="0"/>
            <a:ext cx="12192000" cy="6858000"/>
          </a:xfrm>
          <a:prstGeom prst="rect">
            <a:avLst/>
          </a:prstGeom>
        </p:spPr>
      </p:pic>
      <p:pic>
        <p:nvPicPr>
          <p:cNvPr id="3" name="Bilde 2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363007" y="670984"/>
            <a:ext cx="1309617" cy="296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1863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hf sldNum="0"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C2779AB9-7B5A-4A60-916E-44D26A0215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2607652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27" imgW="622" imgH="623" progId="TCLayout.ActiveDocument.1">
                  <p:embed/>
                </p:oleObj>
              </mc:Choice>
              <mc:Fallback>
                <p:oleObj name="think-cell Slide" r:id="rId27" imgW="622" imgH="62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C2779AB9-7B5A-4A60-916E-44D26A0215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C6310E5-62AF-4B5B-899C-BF8F0F52B920}"/>
              </a:ext>
            </a:extLst>
          </p:cNvPr>
          <p:cNvSpPr/>
          <p:nvPr userDrawn="1">
            <p:custDataLst>
              <p:tags r:id="rId2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0" b="0" i="0" baseline="0" dirty="0">
              <a:latin typeface="AvenirNext LT Pro" panose="020B0504020202020204"/>
              <a:ea typeface="+mj-ea"/>
              <a:cs typeface="Segoe UI" panose="020B0502040204020203" pitchFamily="34" charset="0"/>
              <a:sym typeface="AvenirNext LT Pro" panose="020B0504020202020204"/>
            </a:endParaRPr>
          </a:p>
        </p:txBody>
      </p:sp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B2D456D8-DE39-EA48-AE46-21C40AD990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3031" y="654276"/>
            <a:ext cx="11285938" cy="93939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nb-NO" dirty="0"/>
              <a:t>Klikk for å redigere tittelstil</a:t>
            </a:r>
            <a:br>
              <a:rPr lang="nb-NO" dirty="0"/>
            </a:br>
            <a:endParaRPr lang="nb-NO" dirty="0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EA3AF132-BFBA-A941-9D64-7278CCE2E9F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3031" y="1701845"/>
            <a:ext cx="11285938" cy="447511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ADB73C2-8B30-0045-B483-02B8059444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3031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DB3231-6BAC-184C-A157-78528666BDAE}" type="datetimeFigureOut">
              <a:rPr lang="nb-NO" smtClean="0"/>
              <a:t>28.08.2020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825B215-4F2A-F348-A93D-9B2B7B68874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2EB5670-3E8D-6344-BDDF-B929354F9A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9577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A38E52-6399-BB49-8E01-B0FECF7C0094}" type="slidenum">
              <a:rPr lang="nb-NO" smtClean="0"/>
              <a:t>‹#›</a:t>
            </a:fld>
            <a:endParaRPr lang="nb-NO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EC9A8BE-2D1A-4768-A8F6-082CDA14C802}"/>
              </a:ext>
            </a:extLst>
          </p:cNvPr>
          <p:cNvGrpSpPr/>
          <p:nvPr userDrawn="1"/>
        </p:nvGrpSpPr>
        <p:grpSpPr>
          <a:xfrm>
            <a:off x="9321800" y="0"/>
            <a:ext cx="2870200" cy="711648"/>
            <a:chOff x="4367244" y="2882900"/>
            <a:chExt cx="2870200" cy="711648"/>
          </a:xfrm>
        </p:grpSpPr>
        <p:pic>
          <p:nvPicPr>
            <p:cNvPr id="10" name="Bilde 8" descr="Et bilde som inneholder tegning&#10;&#10;Automatisk generert beskrivelse">
              <a:extLst>
                <a:ext uri="{FF2B5EF4-FFF2-40B4-BE49-F238E27FC236}">
                  <a16:creationId xmlns:a16="http://schemas.microsoft.com/office/drawing/2014/main" id="{4CB01E70-4D89-4615-A0C8-6DBC92B6A128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>
            <a:xfrm>
              <a:off x="4367244" y="2882900"/>
              <a:ext cx="2870200" cy="546100"/>
            </a:xfrm>
            <a:prstGeom prst="rect">
              <a:avLst/>
            </a:prstGeom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268D0797-EF16-4EED-BAD0-D3931F13A0BF}"/>
                </a:ext>
              </a:extLst>
            </p:cNvPr>
            <p:cNvSpPr txBox="1"/>
            <p:nvPr/>
          </p:nvSpPr>
          <p:spPr>
            <a:xfrm>
              <a:off x="4820275" y="2948217"/>
              <a:ext cx="1964138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nb-NO" b="1" dirty="0">
                  <a:solidFill>
                    <a:srgbClr val="003300"/>
                  </a:solidFill>
                </a:rPr>
                <a:t>Grønne elektriske verdikjed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48734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87" r:id="rId16"/>
    <p:sldLayoutId id="2147483688" r:id="rId17"/>
    <p:sldLayoutId id="2147483689" r:id="rId18"/>
    <p:sldLayoutId id="2147483690" r:id="rId19"/>
    <p:sldLayoutId id="2147483691" r:id="rId20"/>
    <p:sldLayoutId id="2147483692" r:id="rId21"/>
    <p:sldLayoutId id="2147483693" r:id="rId2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/>
          </a:solidFill>
          <a:latin typeface="AvenirNext LT Pro" panose="020B0504020202020204"/>
          <a:ea typeface="+mj-ea"/>
          <a:cs typeface="Segoe UI" panose="020B050204020402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venirNext LT Pro" panose="020B0504020202020204"/>
          <a:ea typeface="+mn-ea"/>
          <a:cs typeface="Segoe UI" panose="020B050204020402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venirNext LT Pro" panose="020B0504020202020204"/>
          <a:ea typeface="+mn-ea"/>
          <a:cs typeface="Segoe UI" panose="020B050204020402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venirNext LT Pro" panose="020B0504020202020204"/>
          <a:ea typeface="+mn-ea"/>
          <a:cs typeface="Segoe UI" panose="020B050204020402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venirNext LT Pro" panose="020B0504020202020204"/>
          <a:ea typeface="+mn-ea"/>
          <a:cs typeface="Segoe UI" panose="020B050204020402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venirNext LT Pro" panose="020B0504020202020204"/>
          <a:ea typeface="+mn-ea"/>
          <a:cs typeface="Segoe UI" panose="020B050204020402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16.jpe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13" Type="http://schemas.openxmlformats.org/officeDocument/2006/relationships/image" Target="../media/image27.emf"/><Relationship Id="rId3" Type="http://schemas.openxmlformats.org/officeDocument/2006/relationships/tags" Target="../tags/tag32.xml"/><Relationship Id="rId7" Type="http://schemas.openxmlformats.org/officeDocument/2006/relationships/image" Target="../media/image7.emf"/><Relationship Id="rId12" Type="http://schemas.openxmlformats.org/officeDocument/2006/relationships/image" Target="../media/image26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11" Type="http://schemas.openxmlformats.org/officeDocument/2006/relationships/image" Target="../media/image25.emf"/><Relationship Id="rId5" Type="http://schemas.openxmlformats.org/officeDocument/2006/relationships/notesSlide" Target="../notesSlides/notesSlide7.xml"/><Relationship Id="rId10" Type="http://schemas.openxmlformats.org/officeDocument/2006/relationships/image" Target="../media/image24.emf"/><Relationship Id="rId4" Type="http://schemas.openxmlformats.org/officeDocument/2006/relationships/slideLayout" Target="../slideLayouts/slideLayout29.xml"/><Relationship Id="rId9" Type="http://schemas.openxmlformats.org/officeDocument/2006/relationships/image" Target="../media/image23.emf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/>
          <p:cNvSpPr>
            <a:spLocks noGrp="1"/>
          </p:cNvSpPr>
          <p:nvPr>
            <p:ph type="body" sz="quarter" idx="10"/>
          </p:nvPr>
        </p:nvSpPr>
        <p:spPr>
          <a:xfrm>
            <a:off x="2927648" y="2356125"/>
            <a:ext cx="4415432" cy="384737"/>
          </a:xfrm>
        </p:spPr>
        <p:txBody>
          <a:bodyPr/>
          <a:lstStyle/>
          <a:p>
            <a:r>
              <a:rPr lang="nb-NO" altLang="nb-NO" dirty="0">
                <a:solidFill>
                  <a:schemeClr val="bg1"/>
                </a:solidFill>
                <a:ea typeface="Open Sans" charset="0"/>
                <a:cs typeface="Open Sans" charset="0"/>
              </a:rPr>
              <a:t>Kristiansand, 31. august 2020</a:t>
            </a:r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1"/>
          </p:nvPr>
        </p:nvSpPr>
        <p:spPr>
          <a:xfrm>
            <a:off x="2927648" y="2853267"/>
            <a:ext cx="6844566" cy="575733"/>
          </a:xfrm>
        </p:spPr>
        <p:txBody>
          <a:bodyPr/>
          <a:lstStyle/>
          <a:p>
            <a:r>
              <a:rPr lang="nb-NO" altLang="nb-NO" kern="0" dirty="0">
                <a:solidFill>
                  <a:schemeClr val="bg1"/>
                </a:solidFill>
                <a:ea typeface="Open Sans Semibold" charset="0"/>
                <a:cs typeface="Open Sans Semibold" charset="0"/>
              </a:rPr>
              <a:t>Lunsjseminar Sparebanken Sør</a:t>
            </a:r>
          </a:p>
          <a:p>
            <a:endParaRPr lang="nb-NO" dirty="0"/>
          </a:p>
        </p:txBody>
      </p:sp>
      <p:sp>
        <p:nvSpPr>
          <p:cNvPr id="6" name="Plassholder for tekst 5"/>
          <p:cNvSpPr>
            <a:spLocks noGrp="1"/>
          </p:cNvSpPr>
          <p:nvPr>
            <p:ph type="body" sz="quarter" idx="13"/>
          </p:nvPr>
        </p:nvSpPr>
        <p:spPr>
          <a:xfrm>
            <a:off x="3024718" y="4038547"/>
            <a:ext cx="6335645" cy="478367"/>
          </a:xfrm>
        </p:spPr>
        <p:txBody>
          <a:bodyPr/>
          <a:lstStyle/>
          <a:p>
            <a:r>
              <a:rPr lang="nb-NO" altLang="nb-NO">
                <a:solidFill>
                  <a:schemeClr val="bg1"/>
                </a:solidFill>
                <a:ea typeface="Open Sans" charset="0"/>
                <a:cs typeface="Open Sans" charset="0"/>
              </a:rPr>
              <a:t>ae.no  @</a:t>
            </a:r>
            <a:r>
              <a:rPr lang="nb-NO" altLang="nb-NO" err="1">
                <a:solidFill>
                  <a:schemeClr val="bg1"/>
                </a:solidFill>
                <a:ea typeface="Open Sans" charset="0"/>
                <a:cs typeface="Open Sans" charset="0"/>
              </a:rPr>
              <a:t>Agder_Energi</a:t>
            </a:r>
            <a:r>
              <a:rPr lang="nb-NO" altLang="nb-NO">
                <a:solidFill>
                  <a:schemeClr val="bg1"/>
                </a:solidFill>
                <a:ea typeface="Open Sans" charset="0"/>
                <a:cs typeface="Open Sans" charset="0"/>
              </a:rPr>
              <a:t>  @agderenergi </a:t>
            </a:r>
            <a:endParaRPr lang="nb-NO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91237A31-1800-4E1A-8B89-67138BE70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927648" y="3679530"/>
            <a:ext cx="4607983" cy="287867"/>
          </a:xfrm>
        </p:spPr>
        <p:txBody>
          <a:bodyPr/>
          <a:lstStyle/>
          <a:p>
            <a:r>
              <a:rPr lang="nb-NO" dirty="0"/>
              <a:t>Steffen Syvertsen, konsernsjef</a:t>
            </a:r>
          </a:p>
        </p:txBody>
      </p:sp>
    </p:spTree>
    <p:extLst>
      <p:ext uri="{BB962C8B-B14F-4D97-AF65-F5344CB8AC3E}">
        <p14:creationId xmlns:p14="http://schemas.microsoft.com/office/powerpoint/2010/main" val="31775862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47F100D2-114A-451A-AACF-51F0863DA66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FF7F548E-F1AC-4119-8449-E1A3F062AD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9" name="Bilde 8" descr="Glødende lyspære som henger foran mørke lyspærer">
            <a:extLst>
              <a:ext uri="{FF2B5EF4-FFF2-40B4-BE49-F238E27FC236}">
                <a16:creationId xmlns:a16="http://schemas.microsoft.com/office/drawing/2014/main" id="{4A15E917-2628-4667-AADF-0F73953F4FF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634009"/>
            <a:ext cx="12289536" cy="8191024"/>
          </a:xfrm>
          <a:prstGeom prst="rect">
            <a:avLst/>
          </a:prstGeom>
        </p:spPr>
      </p:pic>
      <p:sp>
        <p:nvSpPr>
          <p:cNvPr id="10" name="Plassholder for tekst 1">
            <a:extLst>
              <a:ext uri="{FF2B5EF4-FFF2-40B4-BE49-F238E27FC236}">
                <a16:creationId xmlns:a16="http://schemas.microsoft.com/office/drawing/2014/main" id="{D717A66B-F30B-4A27-97EF-E6D2D6C31B4B}"/>
              </a:ext>
            </a:extLst>
          </p:cNvPr>
          <p:cNvSpPr txBox="1">
            <a:spLocks/>
          </p:cNvSpPr>
          <p:nvPr/>
        </p:nvSpPr>
        <p:spPr>
          <a:xfrm>
            <a:off x="763994" y="3958279"/>
            <a:ext cx="5863411" cy="575733"/>
          </a:xfrm>
          <a:prstGeom prst="rect">
            <a:avLst/>
          </a:prstGeom>
        </p:spPr>
        <p:txBody>
          <a:bodyPr/>
          <a:lstStyle>
            <a:lvl1pPr marL="0" indent="0" algn="r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dirty="0">
                <a:solidFill>
                  <a:schemeClr val="bg2"/>
                </a:solidFill>
              </a:rPr>
              <a:t>Vi må finne de nye løsningene og ideene sammen med industrien</a:t>
            </a:r>
          </a:p>
        </p:txBody>
      </p:sp>
    </p:spTree>
    <p:extLst>
      <p:ext uri="{BB962C8B-B14F-4D97-AF65-F5344CB8AC3E}">
        <p14:creationId xmlns:p14="http://schemas.microsoft.com/office/powerpoint/2010/main" val="11326228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95265654-DE46-4A61-B2A1-E4E7CDE9D52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F5C7C288-226D-453B-A0A4-5310A5D40DB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64" y="-1244032"/>
            <a:ext cx="12192000" cy="8102032"/>
          </a:xfrm>
          <a:prstGeom prst="rect">
            <a:avLst/>
          </a:prstGeom>
        </p:spPr>
      </p:pic>
      <p:pic>
        <p:nvPicPr>
          <p:cNvPr id="4" name="Bilde 3">
            <a:extLst>
              <a:ext uri="{FF2B5EF4-FFF2-40B4-BE49-F238E27FC236}">
                <a16:creationId xmlns:a16="http://schemas.microsoft.com/office/drawing/2014/main" id="{61C7424B-84B6-4695-AD40-350E7075F8F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4754" y="5541235"/>
            <a:ext cx="5060311" cy="1057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7221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 8"/>
          <p:cNvSpPr txBox="1">
            <a:spLocks/>
          </p:cNvSpPr>
          <p:nvPr/>
        </p:nvSpPr>
        <p:spPr bwMode="auto">
          <a:xfrm>
            <a:off x="924985" y="1672168"/>
            <a:ext cx="10382249" cy="4106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457189" indent="-457189">
              <a:lnSpc>
                <a:spcPts val="3467"/>
              </a:lnSpc>
              <a:spcBef>
                <a:spcPts val="2667"/>
              </a:spcBef>
              <a:spcAft>
                <a:spcPts val="533"/>
              </a:spcAft>
              <a:buSzPct val="80000"/>
              <a:defRPr/>
            </a:pPr>
            <a:r>
              <a:rPr lang="nb-NO" sz="2400" kern="0">
                <a:solidFill>
                  <a:schemeClr val="bg1"/>
                </a:solidFill>
                <a:cs typeface="ＭＳ Ｐゴシック" pitchFamily="-110" charset="-128"/>
              </a:rPr>
              <a:t>God kraft. Godt klima.</a:t>
            </a:r>
          </a:p>
        </p:txBody>
      </p:sp>
      <p:pic>
        <p:nvPicPr>
          <p:cNvPr id="2" name="Bild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16909"/>
            <a:ext cx="12192000" cy="8128001"/>
          </a:xfrm>
          <a:prstGeom prst="rect">
            <a:avLst/>
          </a:prstGeom>
        </p:spPr>
      </p:pic>
      <p:pic>
        <p:nvPicPr>
          <p:cNvPr id="7" name="Bild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365772" y="673749"/>
            <a:ext cx="1316767" cy="298545"/>
          </a:xfrm>
          <a:prstGeom prst="rect">
            <a:avLst/>
          </a:prstGeom>
        </p:spPr>
      </p:pic>
      <p:sp>
        <p:nvSpPr>
          <p:cNvPr id="3" name="Tittel 1">
            <a:extLst>
              <a:ext uri="{FF2B5EF4-FFF2-40B4-BE49-F238E27FC236}">
                <a16:creationId xmlns:a16="http://schemas.microsoft.com/office/drawing/2014/main" id="{0B5ECC63-2B38-4EC0-A524-FDF00C49304D}"/>
              </a:ext>
            </a:extLst>
          </p:cNvPr>
          <p:cNvSpPr txBox="1">
            <a:spLocks/>
          </p:cNvSpPr>
          <p:nvPr/>
        </p:nvSpPr>
        <p:spPr bwMode="auto">
          <a:xfrm>
            <a:off x="5327915" y="2372883"/>
            <a:ext cx="6240693" cy="2112235"/>
          </a:xfrm>
          <a:prstGeom prst="rect">
            <a:avLst/>
          </a:prstGeom>
          <a:solidFill>
            <a:srgbClr val="024D6E">
              <a:alpha val="60000"/>
            </a:srgbClr>
          </a:solidFill>
          <a:ln>
            <a:noFill/>
          </a:ln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400">
                <a:solidFill>
                  <a:srgbClr val="024D6E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400">
                <a:solidFill>
                  <a:srgbClr val="024D6E"/>
                </a:solidFill>
                <a:latin typeface="Verdana" pitchFamily="34" charset="0"/>
                <a:ea typeface="ＭＳ Ｐゴシック" pitchFamily="16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400">
                <a:solidFill>
                  <a:srgbClr val="024D6E"/>
                </a:solidFill>
                <a:latin typeface="Verdana" pitchFamily="34" charset="0"/>
                <a:ea typeface="ＭＳ Ｐゴシック" pitchFamily="16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400">
                <a:solidFill>
                  <a:srgbClr val="024D6E"/>
                </a:solidFill>
                <a:latin typeface="Verdana" pitchFamily="34" charset="0"/>
                <a:ea typeface="ＭＳ Ｐゴシック" pitchFamily="16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400">
                <a:solidFill>
                  <a:srgbClr val="024D6E"/>
                </a:solidFill>
                <a:latin typeface="Verdana" pitchFamily="34" charset="0"/>
                <a:ea typeface="ＭＳ Ｐゴシック" pitchFamily="16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400">
                <a:solidFill>
                  <a:srgbClr val="024D6E"/>
                </a:solidFill>
                <a:latin typeface="Arial" charset="0"/>
                <a:ea typeface="ＭＳ Ｐゴシック" pitchFamily="16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400">
                <a:solidFill>
                  <a:srgbClr val="024D6E"/>
                </a:solidFill>
                <a:latin typeface="Arial" charset="0"/>
                <a:ea typeface="ＭＳ Ｐゴシック" pitchFamily="16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400">
                <a:solidFill>
                  <a:srgbClr val="024D6E"/>
                </a:solidFill>
                <a:latin typeface="Arial" charset="0"/>
                <a:ea typeface="ＭＳ Ｐゴシック" pitchFamily="16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400">
                <a:solidFill>
                  <a:srgbClr val="024D6E"/>
                </a:solidFill>
                <a:latin typeface="Arial" charset="0"/>
                <a:ea typeface="ＭＳ Ｐゴシック" pitchFamily="16" charset="-128"/>
              </a:defRPr>
            </a:lvl9pPr>
          </a:lstStyle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Open Sans" panose="020B0606030504020204" pitchFamily="34" charset="0"/>
                <a:cs typeface="Open Sans" panose="020B0606030504020204" pitchFamily="34" charset="0"/>
              </a:rPr>
              <a:t>Vårt oppdrag:</a:t>
            </a:r>
          </a:p>
          <a:p>
            <a:pPr marL="0" marR="0" lvl="0" indent="0" algn="l" defTabSz="12191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altLang="nb-NO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Open Sans" panose="020B0606030504020204" pitchFamily="34" charset="0"/>
                <a:cs typeface="Open Sans" panose="020B0606030504020204" pitchFamily="34" charset="0"/>
              </a:rPr>
              <a:t>Vi leverer ren energi,</a:t>
            </a:r>
            <a:br>
              <a:rPr kumimoji="0" lang="nb-NO" altLang="nb-NO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nb-NO" altLang="nb-NO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Open Sans" panose="020B0606030504020204" pitchFamily="34" charset="0"/>
                <a:cs typeface="Open Sans" panose="020B0606030504020204" pitchFamily="34" charset="0"/>
              </a:rPr>
              <a:t>for at samfunnet skal fungere </a:t>
            </a:r>
            <a:br>
              <a:rPr kumimoji="0" lang="nb-NO" altLang="nb-NO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kumimoji="0" lang="nb-NO" altLang="nb-NO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Open Sans" panose="020B0606030504020204" pitchFamily="34" charset="0"/>
                <a:cs typeface="Open Sans" panose="020B0606030504020204" pitchFamily="34" charset="0"/>
              </a:rPr>
              <a:t>– nå og for fremtiden </a:t>
            </a:r>
          </a:p>
        </p:txBody>
      </p:sp>
    </p:spTree>
    <p:extLst>
      <p:ext uri="{BB962C8B-B14F-4D97-AF65-F5344CB8AC3E}">
        <p14:creationId xmlns:p14="http://schemas.microsoft.com/office/powerpoint/2010/main" val="1972969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Tm="1000">
        <p:fade/>
      </p:transition>
    </mc:Choice>
    <mc:Fallback xmlns="">
      <p:transition spd="slow" advTm="1000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932EA567-F042-4C10-BB7C-CD04CD79B4BD}"/>
              </a:ext>
            </a:extLst>
          </p:cNvPr>
          <p:cNvSpPr/>
          <p:nvPr/>
        </p:nvSpPr>
        <p:spPr>
          <a:xfrm>
            <a:off x="0" y="-30081"/>
            <a:ext cx="12192000" cy="6858000"/>
          </a:xfrm>
          <a:prstGeom prst="rect">
            <a:avLst/>
          </a:prstGeom>
          <a:solidFill>
            <a:schemeClr val="bg1"/>
          </a:solidFill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lang="nb-NO" sz="1600" b="1">
              <a:solidFill>
                <a:srgbClr val="024D6E"/>
              </a:solidFill>
              <a:latin typeface="Open Sans" charset="0"/>
              <a:ea typeface="Open Sans" charset="0"/>
              <a:cs typeface="Open Sans" charset="0"/>
            </a:endParaRPr>
          </a:p>
        </p:txBody>
      </p:sp>
      <p:pic>
        <p:nvPicPr>
          <p:cNvPr id="16" name="Bilde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363005" y="670984"/>
            <a:ext cx="1309617" cy="296925"/>
          </a:xfrm>
          <a:prstGeom prst="rect">
            <a:avLst/>
          </a:prstGeom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EE71FE5F-EE82-4A48-9FDB-4C1AE87E7A7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111377" y="1189486"/>
            <a:ext cx="4940891" cy="5172631"/>
          </a:xfrm>
          <a:prstGeom prst="rect">
            <a:avLst/>
          </a:prstGeom>
        </p:spPr>
      </p:pic>
      <p:sp>
        <p:nvSpPr>
          <p:cNvPr id="5" name="TekstSylinder 3">
            <a:extLst>
              <a:ext uri="{FF2B5EF4-FFF2-40B4-BE49-F238E27FC236}">
                <a16:creationId xmlns:a16="http://schemas.microsoft.com/office/drawing/2014/main" id="{9BA154F9-D4A5-4FCA-B17B-C4B1CAF8EE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67405" y="2101574"/>
            <a:ext cx="116891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altLang="nb-NO" sz="1400" b="1">
                <a:solidFill>
                  <a:srgbClr val="024D6E"/>
                </a:solidFill>
              </a:rPr>
              <a:t>Produksjon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E5388766-953B-4B3F-973E-B0C95A13DB5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3149" y="3606525"/>
            <a:ext cx="122822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altLang="nb-NO" sz="1400" b="1">
                <a:solidFill>
                  <a:srgbClr val="024D6E"/>
                </a:solidFill>
              </a:rPr>
              <a:t>Distribusjon</a:t>
            </a:r>
          </a:p>
        </p:txBody>
      </p:sp>
      <p:pic>
        <p:nvPicPr>
          <p:cNvPr id="10" name="Bilde 8">
            <a:extLst>
              <a:ext uri="{FF2B5EF4-FFF2-40B4-BE49-F238E27FC236}">
                <a16:creationId xmlns:a16="http://schemas.microsoft.com/office/drawing/2014/main" id="{91EDC2BB-8160-40FE-B220-4AF3737DFC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6685" y="5891313"/>
            <a:ext cx="1247775" cy="53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Bilde 13">
            <a:extLst>
              <a:ext uri="{FF2B5EF4-FFF2-40B4-BE49-F238E27FC236}">
                <a16:creationId xmlns:a16="http://schemas.microsoft.com/office/drawing/2014/main" id="{4B1C113D-CB91-492D-8F89-65BA12E101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078" y="5422813"/>
            <a:ext cx="666751" cy="665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Bilde 15">
            <a:extLst>
              <a:ext uri="{FF2B5EF4-FFF2-40B4-BE49-F238E27FC236}">
                <a16:creationId xmlns:a16="http://schemas.microsoft.com/office/drawing/2014/main" id="{C7F0ED8B-4EBD-4899-8674-156DE28EA7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8312" y="5498849"/>
            <a:ext cx="417513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" name="Rett linje 3">
            <a:extLst>
              <a:ext uri="{FF2B5EF4-FFF2-40B4-BE49-F238E27FC236}">
                <a16:creationId xmlns:a16="http://schemas.microsoft.com/office/drawing/2014/main" id="{4210138B-24D3-4E76-B10F-3E6538EF71AA}"/>
              </a:ext>
            </a:extLst>
          </p:cNvPr>
          <p:cNvCxnSpPr>
            <a:cxnSpLocks/>
          </p:cNvCxnSpPr>
          <p:nvPr/>
        </p:nvCxnSpPr>
        <p:spPr>
          <a:xfrm>
            <a:off x="1367406" y="2409547"/>
            <a:ext cx="3864500" cy="0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" name="Rett linje 16">
            <a:extLst>
              <a:ext uri="{FF2B5EF4-FFF2-40B4-BE49-F238E27FC236}">
                <a16:creationId xmlns:a16="http://schemas.microsoft.com/office/drawing/2014/main" id="{4260FEB4-065C-477D-8774-371AA637DF4F}"/>
              </a:ext>
            </a:extLst>
          </p:cNvPr>
          <p:cNvCxnSpPr>
            <a:cxnSpLocks/>
          </p:cNvCxnSpPr>
          <p:nvPr/>
        </p:nvCxnSpPr>
        <p:spPr>
          <a:xfrm>
            <a:off x="1367406" y="3945077"/>
            <a:ext cx="2520351" cy="0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4" name="Rett linje 23">
            <a:extLst>
              <a:ext uri="{FF2B5EF4-FFF2-40B4-BE49-F238E27FC236}">
                <a16:creationId xmlns:a16="http://schemas.microsoft.com/office/drawing/2014/main" id="{184E252D-1822-4208-9609-E4ACBCF05D72}"/>
              </a:ext>
            </a:extLst>
          </p:cNvPr>
          <p:cNvCxnSpPr>
            <a:cxnSpLocks/>
          </p:cNvCxnSpPr>
          <p:nvPr/>
        </p:nvCxnSpPr>
        <p:spPr>
          <a:xfrm>
            <a:off x="1367406" y="5427227"/>
            <a:ext cx="2904393" cy="0"/>
          </a:xfrm>
          <a:prstGeom prst="line">
            <a:avLst/>
          </a:prstGeom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2" name="TekstSylinder 9">
            <a:extLst>
              <a:ext uri="{FF2B5EF4-FFF2-40B4-BE49-F238E27FC236}">
                <a16:creationId xmlns:a16="http://schemas.microsoft.com/office/drawing/2014/main" id="{E1716E01-4B06-4942-9A5E-8897CDF64B0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67405" y="5088674"/>
            <a:ext cx="1107996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altLang="nb-NO" sz="1400" b="1">
                <a:solidFill>
                  <a:srgbClr val="024D6E"/>
                </a:solidFill>
              </a:rPr>
              <a:t>Sluttkunde</a:t>
            </a:r>
          </a:p>
        </p:txBody>
      </p:sp>
      <p:pic>
        <p:nvPicPr>
          <p:cNvPr id="25" name="Bilde 24">
            <a:extLst>
              <a:ext uri="{FF2B5EF4-FFF2-40B4-BE49-F238E27FC236}">
                <a16:creationId xmlns:a16="http://schemas.microsoft.com/office/drawing/2014/main" id="{8410BC8B-B810-480B-8E5A-805C3C82B55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4734" y="6008172"/>
            <a:ext cx="778079" cy="333571"/>
          </a:xfrm>
          <a:prstGeom prst="rect">
            <a:avLst/>
          </a:prstGeom>
        </p:spPr>
      </p:pic>
      <p:sp>
        <p:nvSpPr>
          <p:cNvPr id="26" name="Tittel 1">
            <a:extLst>
              <a:ext uri="{FF2B5EF4-FFF2-40B4-BE49-F238E27FC236}">
                <a16:creationId xmlns:a16="http://schemas.microsoft.com/office/drawing/2014/main" id="{8B425846-5C68-445E-9D4F-8B02C113BEC2}"/>
              </a:ext>
            </a:extLst>
          </p:cNvPr>
          <p:cNvSpPr txBox="1">
            <a:spLocks/>
          </p:cNvSpPr>
          <p:nvPr/>
        </p:nvSpPr>
        <p:spPr bwMode="auto">
          <a:xfrm>
            <a:off x="1967541" y="68628"/>
            <a:ext cx="10081120" cy="480053"/>
          </a:xfrm>
          <a:prstGeom prst="rect">
            <a:avLst/>
          </a:prstGeom>
          <a:solidFill>
            <a:srgbClr val="024D6E">
              <a:alpha val="0"/>
            </a:srgbClr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400">
                <a:solidFill>
                  <a:srgbClr val="024D6E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400">
                <a:solidFill>
                  <a:srgbClr val="024D6E"/>
                </a:solidFill>
                <a:latin typeface="Verdana" pitchFamily="34" charset="0"/>
                <a:ea typeface="ＭＳ Ｐゴシック" pitchFamily="16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400">
                <a:solidFill>
                  <a:srgbClr val="024D6E"/>
                </a:solidFill>
                <a:latin typeface="Verdana" pitchFamily="34" charset="0"/>
                <a:ea typeface="ＭＳ Ｐゴシック" pitchFamily="16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400">
                <a:solidFill>
                  <a:srgbClr val="024D6E"/>
                </a:solidFill>
                <a:latin typeface="Verdana" pitchFamily="34" charset="0"/>
                <a:ea typeface="ＭＳ Ｐゴシック" pitchFamily="16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400">
                <a:solidFill>
                  <a:srgbClr val="024D6E"/>
                </a:solidFill>
                <a:latin typeface="Verdana" pitchFamily="34" charset="0"/>
                <a:ea typeface="ＭＳ Ｐゴシック" pitchFamily="16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400">
                <a:solidFill>
                  <a:srgbClr val="024D6E"/>
                </a:solidFill>
                <a:latin typeface="Arial" charset="0"/>
                <a:ea typeface="ＭＳ Ｐゴシック" pitchFamily="16" charset="-128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400">
                <a:solidFill>
                  <a:srgbClr val="024D6E"/>
                </a:solidFill>
                <a:latin typeface="Arial" charset="0"/>
                <a:ea typeface="ＭＳ Ｐゴシック" pitchFamily="16" charset="-128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400">
                <a:solidFill>
                  <a:srgbClr val="024D6E"/>
                </a:solidFill>
                <a:latin typeface="Arial" charset="0"/>
                <a:ea typeface="ＭＳ Ｐゴシック" pitchFamily="16" charset="-128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400">
                <a:solidFill>
                  <a:srgbClr val="024D6E"/>
                </a:solidFill>
                <a:latin typeface="Arial" charset="0"/>
                <a:ea typeface="ＭＳ Ｐゴシック" pitchFamily="16" charset="-128"/>
              </a:defRPr>
            </a:lvl9pPr>
          </a:lstStyle>
          <a:p>
            <a:pPr algn="r" defTabSz="1219170"/>
            <a:r>
              <a:rPr lang="nb-NO" altLang="nb-NO" sz="2400" dirty="0">
                <a:latin typeface="Arial"/>
                <a:ea typeface="Open Sans" panose="020B0606030504020204" pitchFamily="34" charset="0"/>
                <a:cs typeface="Open Sans" panose="020B0606030504020204" pitchFamily="34" charset="0"/>
              </a:rPr>
              <a:t>Agder Energi</a:t>
            </a:r>
            <a:endParaRPr lang="nb-NO" altLang="nb-NO" sz="4800" b="1" kern="0" dirty="0">
              <a:latin typeface="Arial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B2F76AED-A3CB-461D-8427-9A9D779A805E}"/>
              </a:ext>
            </a:extLst>
          </p:cNvPr>
          <p:cNvSpPr txBox="1"/>
          <p:nvPr/>
        </p:nvSpPr>
        <p:spPr>
          <a:xfrm>
            <a:off x="8900443" y="3469689"/>
            <a:ext cx="1822935" cy="748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2667" b="1">
                <a:solidFill>
                  <a:srgbClr val="024D6E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21,800 km</a:t>
            </a:r>
          </a:p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600">
                <a:solidFill>
                  <a:srgbClr val="024D6E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strømlinjer</a:t>
            </a:r>
          </a:p>
        </p:txBody>
      </p:sp>
      <p:sp>
        <p:nvSpPr>
          <p:cNvPr id="30" name="TekstSylinder 29">
            <a:extLst>
              <a:ext uri="{FF2B5EF4-FFF2-40B4-BE49-F238E27FC236}">
                <a16:creationId xmlns:a16="http://schemas.microsoft.com/office/drawing/2014/main" id="{95C4973B-2899-4006-AFEF-692FBB3C19E9}"/>
              </a:ext>
            </a:extLst>
          </p:cNvPr>
          <p:cNvSpPr txBox="1"/>
          <p:nvPr/>
        </p:nvSpPr>
        <p:spPr>
          <a:xfrm>
            <a:off x="8900445" y="4594315"/>
            <a:ext cx="1628972" cy="748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2667" b="1" dirty="0">
                <a:solidFill>
                  <a:srgbClr val="024D6E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2 mrd. kr</a:t>
            </a:r>
          </a:p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600" dirty="0">
                <a:solidFill>
                  <a:srgbClr val="024D6E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i årlige innkjøp</a:t>
            </a:r>
          </a:p>
        </p:txBody>
      </p:sp>
      <p:sp>
        <p:nvSpPr>
          <p:cNvPr id="33" name="Google Shape;2963;p117">
            <a:extLst>
              <a:ext uri="{FF2B5EF4-FFF2-40B4-BE49-F238E27FC236}">
                <a16:creationId xmlns:a16="http://schemas.microsoft.com/office/drawing/2014/main" id="{B0AF0B52-9557-4F33-B20F-67DA7B8EC980}"/>
              </a:ext>
            </a:extLst>
          </p:cNvPr>
          <p:cNvSpPr/>
          <p:nvPr/>
        </p:nvSpPr>
        <p:spPr>
          <a:xfrm>
            <a:off x="690671" y="2024104"/>
            <a:ext cx="733584" cy="733584"/>
          </a:xfrm>
          <a:prstGeom prst="ellipse">
            <a:avLst/>
          </a:prstGeom>
          <a:solidFill>
            <a:schemeClr val="lt2"/>
          </a:solidFill>
          <a:ln w="12700" cap="flat" cmpd="sng">
            <a:solidFill>
              <a:srgbClr val="024D6E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sz="2000">
              <a:solidFill>
                <a:prstClr val="white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4" name="Google Shape;10934;p194">
            <a:extLst>
              <a:ext uri="{FF2B5EF4-FFF2-40B4-BE49-F238E27FC236}">
                <a16:creationId xmlns:a16="http://schemas.microsoft.com/office/drawing/2014/main" id="{053DFDFE-33D7-4EE3-A0F5-28225F0C6904}"/>
              </a:ext>
            </a:extLst>
          </p:cNvPr>
          <p:cNvSpPr/>
          <p:nvPr/>
        </p:nvSpPr>
        <p:spPr>
          <a:xfrm>
            <a:off x="911505" y="2211648"/>
            <a:ext cx="266251" cy="358496"/>
          </a:xfrm>
          <a:custGeom>
            <a:avLst/>
            <a:gdLst/>
            <a:ahLst/>
            <a:cxnLst/>
            <a:rect l="l" t="t" r="r" b="b"/>
            <a:pathLst>
              <a:path w="254" h="342" extrusionOk="0">
                <a:moveTo>
                  <a:pt x="202" y="216"/>
                </a:moveTo>
                <a:lnTo>
                  <a:pt x="202" y="216"/>
                </a:lnTo>
                <a:lnTo>
                  <a:pt x="188" y="216"/>
                </a:lnTo>
                <a:lnTo>
                  <a:pt x="174" y="212"/>
                </a:lnTo>
                <a:lnTo>
                  <a:pt x="162" y="206"/>
                </a:lnTo>
                <a:lnTo>
                  <a:pt x="150" y="196"/>
                </a:lnTo>
                <a:lnTo>
                  <a:pt x="142" y="188"/>
                </a:lnTo>
                <a:lnTo>
                  <a:pt x="134" y="176"/>
                </a:lnTo>
                <a:lnTo>
                  <a:pt x="130" y="162"/>
                </a:lnTo>
                <a:lnTo>
                  <a:pt x="126" y="148"/>
                </a:lnTo>
                <a:lnTo>
                  <a:pt x="126" y="148"/>
                </a:lnTo>
                <a:lnTo>
                  <a:pt x="126" y="148"/>
                </a:lnTo>
                <a:lnTo>
                  <a:pt x="126" y="142"/>
                </a:lnTo>
                <a:lnTo>
                  <a:pt x="126" y="142"/>
                </a:lnTo>
                <a:lnTo>
                  <a:pt x="126" y="132"/>
                </a:lnTo>
                <a:lnTo>
                  <a:pt x="128" y="124"/>
                </a:lnTo>
                <a:lnTo>
                  <a:pt x="136" y="106"/>
                </a:lnTo>
                <a:lnTo>
                  <a:pt x="136" y="106"/>
                </a:lnTo>
                <a:lnTo>
                  <a:pt x="136" y="104"/>
                </a:lnTo>
                <a:lnTo>
                  <a:pt x="164" y="58"/>
                </a:lnTo>
                <a:lnTo>
                  <a:pt x="130" y="4"/>
                </a:lnTo>
                <a:lnTo>
                  <a:pt x="130" y="4"/>
                </a:lnTo>
                <a:lnTo>
                  <a:pt x="126" y="0"/>
                </a:lnTo>
                <a:lnTo>
                  <a:pt x="122" y="0"/>
                </a:lnTo>
                <a:lnTo>
                  <a:pt x="118" y="0"/>
                </a:lnTo>
                <a:lnTo>
                  <a:pt x="114" y="4"/>
                </a:lnTo>
                <a:lnTo>
                  <a:pt x="24" y="148"/>
                </a:lnTo>
                <a:lnTo>
                  <a:pt x="16" y="160"/>
                </a:lnTo>
                <a:lnTo>
                  <a:pt x="16" y="160"/>
                </a:lnTo>
                <a:lnTo>
                  <a:pt x="8" y="174"/>
                </a:lnTo>
                <a:lnTo>
                  <a:pt x="4" y="190"/>
                </a:lnTo>
                <a:lnTo>
                  <a:pt x="0" y="204"/>
                </a:lnTo>
                <a:lnTo>
                  <a:pt x="0" y="220"/>
                </a:lnTo>
                <a:lnTo>
                  <a:pt x="0" y="220"/>
                </a:lnTo>
                <a:lnTo>
                  <a:pt x="0" y="228"/>
                </a:lnTo>
                <a:lnTo>
                  <a:pt x="0" y="228"/>
                </a:lnTo>
                <a:lnTo>
                  <a:pt x="2" y="230"/>
                </a:lnTo>
                <a:lnTo>
                  <a:pt x="2" y="230"/>
                </a:lnTo>
                <a:lnTo>
                  <a:pt x="6" y="254"/>
                </a:lnTo>
                <a:lnTo>
                  <a:pt x="14" y="274"/>
                </a:lnTo>
                <a:lnTo>
                  <a:pt x="26" y="294"/>
                </a:lnTo>
                <a:lnTo>
                  <a:pt x="40" y="310"/>
                </a:lnTo>
                <a:lnTo>
                  <a:pt x="58" y="324"/>
                </a:lnTo>
                <a:lnTo>
                  <a:pt x="78" y="334"/>
                </a:lnTo>
                <a:lnTo>
                  <a:pt x="98" y="340"/>
                </a:lnTo>
                <a:lnTo>
                  <a:pt x="122" y="342"/>
                </a:lnTo>
                <a:lnTo>
                  <a:pt x="122" y="342"/>
                </a:lnTo>
                <a:lnTo>
                  <a:pt x="146" y="340"/>
                </a:lnTo>
                <a:lnTo>
                  <a:pt x="166" y="334"/>
                </a:lnTo>
                <a:lnTo>
                  <a:pt x="186" y="324"/>
                </a:lnTo>
                <a:lnTo>
                  <a:pt x="204" y="310"/>
                </a:lnTo>
                <a:lnTo>
                  <a:pt x="218" y="294"/>
                </a:lnTo>
                <a:lnTo>
                  <a:pt x="230" y="274"/>
                </a:lnTo>
                <a:lnTo>
                  <a:pt x="238" y="254"/>
                </a:lnTo>
                <a:lnTo>
                  <a:pt x="242" y="230"/>
                </a:lnTo>
                <a:lnTo>
                  <a:pt x="242" y="230"/>
                </a:lnTo>
                <a:lnTo>
                  <a:pt x="244" y="228"/>
                </a:lnTo>
                <a:lnTo>
                  <a:pt x="244" y="228"/>
                </a:lnTo>
                <a:lnTo>
                  <a:pt x="244" y="220"/>
                </a:lnTo>
                <a:lnTo>
                  <a:pt x="244" y="220"/>
                </a:lnTo>
                <a:lnTo>
                  <a:pt x="242" y="204"/>
                </a:lnTo>
                <a:lnTo>
                  <a:pt x="242" y="204"/>
                </a:lnTo>
                <a:lnTo>
                  <a:pt x="234" y="210"/>
                </a:lnTo>
                <a:lnTo>
                  <a:pt x="224" y="214"/>
                </a:lnTo>
                <a:lnTo>
                  <a:pt x="212" y="216"/>
                </a:lnTo>
                <a:lnTo>
                  <a:pt x="202" y="216"/>
                </a:lnTo>
                <a:lnTo>
                  <a:pt x="202" y="216"/>
                </a:lnTo>
                <a:close/>
                <a:moveTo>
                  <a:pt x="122" y="308"/>
                </a:moveTo>
                <a:lnTo>
                  <a:pt x="122" y="308"/>
                </a:lnTo>
                <a:lnTo>
                  <a:pt x="106" y="306"/>
                </a:lnTo>
                <a:lnTo>
                  <a:pt x="90" y="302"/>
                </a:lnTo>
                <a:lnTo>
                  <a:pt x="76" y="296"/>
                </a:lnTo>
                <a:lnTo>
                  <a:pt x="62" y="288"/>
                </a:lnTo>
                <a:lnTo>
                  <a:pt x="52" y="276"/>
                </a:lnTo>
                <a:lnTo>
                  <a:pt x="44" y="262"/>
                </a:lnTo>
                <a:lnTo>
                  <a:pt x="38" y="244"/>
                </a:lnTo>
                <a:lnTo>
                  <a:pt x="36" y="224"/>
                </a:lnTo>
                <a:lnTo>
                  <a:pt x="36" y="224"/>
                </a:lnTo>
                <a:lnTo>
                  <a:pt x="36" y="220"/>
                </a:lnTo>
                <a:lnTo>
                  <a:pt x="38" y="216"/>
                </a:lnTo>
                <a:lnTo>
                  <a:pt x="42" y="214"/>
                </a:lnTo>
                <a:lnTo>
                  <a:pt x="46" y="214"/>
                </a:lnTo>
                <a:lnTo>
                  <a:pt x="46" y="214"/>
                </a:lnTo>
                <a:lnTo>
                  <a:pt x="50" y="214"/>
                </a:lnTo>
                <a:lnTo>
                  <a:pt x="52" y="216"/>
                </a:lnTo>
                <a:lnTo>
                  <a:pt x="54" y="220"/>
                </a:lnTo>
                <a:lnTo>
                  <a:pt x="56" y="224"/>
                </a:lnTo>
                <a:lnTo>
                  <a:pt x="56" y="224"/>
                </a:lnTo>
                <a:lnTo>
                  <a:pt x="56" y="236"/>
                </a:lnTo>
                <a:lnTo>
                  <a:pt x="58" y="246"/>
                </a:lnTo>
                <a:lnTo>
                  <a:pt x="64" y="256"/>
                </a:lnTo>
                <a:lnTo>
                  <a:pt x="70" y="266"/>
                </a:lnTo>
                <a:lnTo>
                  <a:pt x="80" y="276"/>
                </a:lnTo>
                <a:lnTo>
                  <a:pt x="90" y="282"/>
                </a:lnTo>
                <a:lnTo>
                  <a:pt x="104" y="286"/>
                </a:lnTo>
                <a:lnTo>
                  <a:pt x="122" y="288"/>
                </a:lnTo>
                <a:lnTo>
                  <a:pt x="122" y="288"/>
                </a:lnTo>
                <a:lnTo>
                  <a:pt x="124" y="288"/>
                </a:lnTo>
                <a:lnTo>
                  <a:pt x="128" y="290"/>
                </a:lnTo>
                <a:lnTo>
                  <a:pt x="130" y="294"/>
                </a:lnTo>
                <a:lnTo>
                  <a:pt x="132" y="298"/>
                </a:lnTo>
                <a:lnTo>
                  <a:pt x="132" y="298"/>
                </a:lnTo>
                <a:lnTo>
                  <a:pt x="130" y="302"/>
                </a:lnTo>
                <a:lnTo>
                  <a:pt x="128" y="304"/>
                </a:lnTo>
                <a:lnTo>
                  <a:pt x="124" y="306"/>
                </a:lnTo>
                <a:lnTo>
                  <a:pt x="122" y="308"/>
                </a:lnTo>
                <a:lnTo>
                  <a:pt x="122" y="308"/>
                </a:lnTo>
                <a:close/>
                <a:moveTo>
                  <a:pt x="248" y="116"/>
                </a:moveTo>
                <a:lnTo>
                  <a:pt x="210" y="56"/>
                </a:lnTo>
                <a:lnTo>
                  <a:pt x="210" y="56"/>
                </a:lnTo>
                <a:lnTo>
                  <a:pt x="206" y="52"/>
                </a:lnTo>
                <a:lnTo>
                  <a:pt x="202" y="50"/>
                </a:lnTo>
                <a:lnTo>
                  <a:pt x="202" y="50"/>
                </a:lnTo>
                <a:lnTo>
                  <a:pt x="196" y="52"/>
                </a:lnTo>
                <a:lnTo>
                  <a:pt x="192" y="56"/>
                </a:lnTo>
                <a:lnTo>
                  <a:pt x="156" y="116"/>
                </a:lnTo>
                <a:lnTo>
                  <a:pt x="156" y="116"/>
                </a:lnTo>
                <a:lnTo>
                  <a:pt x="150" y="128"/>
                </a:lnTo>
                <a:lnTo>
                  <a:pt x="148" y="142"/>
                </a:lnTo>
                <a:lnTo>
                  <a:pt x="148" y="142"/>
                </a:lnTo>
                <a:lnTo>
                  <a:pt x="148" y="146"/>
                </a:lnTo>
                <a:lnTo>
                  <a:pt x="148" y="146"/>
                </a:lnTo>
                <a:lnTo>
                  <a:pt x="148" y="146"/>
                </a:lnTo>
                <a:lnTo>
                  <a:pt x="150" y="156"/>
                </a:lnTo>
                <a:lnTo>
                  <a:pt x="154" y="166"/>
                </a:lnTo>
                <a:lnTo>
                  <a:pt x="160" y="174"/>
                </a:lnTo>
                <a:lnTo>
                  <a:pt x="166" y="180"/>
                </a:lnTo>
                <a:lnTo>
                  <a:pt x="174" y="186"/>
                </a:lnTo>
                <a:lnTo>
                  <a:pt x="182" y="190"/>
                </a:lnTo>
                <a:lnTo>
                  <a:pt x="192" y="194"/>
                </a:lnTo>
                <a:lnTo>
                  <a:pt x="202" y="194"/>
                </a:lnTo>
                <a:lnTo>
                  <a:pt x="202" y="194"/>
                </a:lnTo>
                <a:lnTo>
                  <a:pt x="212" y="194"/>
                </a:lnTo>
                <a:lnTo>
                  <a:pt x="220" y="190"/>
                </a:lnTo>
                <a:lnTo>
                  <a:pt x="230" y="186"/>
                </a:lnTo>
                <a:lnTo>
                  <a:pt x="236" y="180"/>
                </a:lnTo>
                <a:lnTo>
                  <a:pt x="244" y="174"/>
                </a:lnTo>
                <a:lnTo>
                  <a:pt x="248" y="166"/>
                </a:lnTo>
                <a:lnTo>
                  <a:pt x="252" y="156"/>
                </a:lnTo>
                <a:lnTo>
                  <a:pt x="254" y="146"/>
                </a:lnTo>
                <a:lnTo>
                  <a:pt x="254" y="146"/>
                </a:lnTo>
                <a:lnTo>
                  <a:pt x="254" y="146"/>
                </a:lnTo>
                <a:lnTo>
                  <a:pt x="254" y="142"/>
                </a:lnTo>
                <a:lnTo>
                  <a:pt x="254" y="142"/>
                </a:lnTo>
                <a:lnTo>
                  <a:pt x="252" y="128"/>
                </a:lnTo>
                <a:lnTo>
                  <a:pt x="248" y="116"/>
                </a:lnTo>
                <a:lnTo>
                  <a:pt x="248" y="116"/>
                </a:lnTo>
                <a:close/>
                <a:moveTo>
                  <a:pt x="204" y="176"/>
                </a:moveTo>
                <a:lnTo>
                  <a:pt x="204" y="176"/>
                </a:lnTo>
                <a:lnTo>
                  <a:pt x="196" y="174"/>
                </a:lnTo>
                <a:lnTo>
                  <a:pt x="186" y="172"/>
                </a:lnTo>
                <a:lnTo>
                  <a:pt x="180" y="168"/>
                </a:lnTo>
                <a:lnTo>
                  <a:pt x="174" y="164"/>
                </a:lnTo>
                <a:lnTo>
                  <a:pt x="170" y="158"/>
                </a:lnTo>
                <a:lnTo>
                  <a:pt x="168" y="150"/>
                </a:lnTo>
                <a:lnTo>
                  <a:pt x="166" y="144"/>
                </a:lnTo>
                <a:lnTo>
                  <a:pt x="164" y="136"/>
                </a:lnTo>
                <a:lnTo>
                  <a:pt x="164" y="136"/>
                </a:lnTo>
                <a:lnTo>
                  <a:pt x="166" y="132"/>
                </a:lnTo>
                <a:lnTo>
                  <a:pt x="172" y="130"/>
                </a:lnTo>
                <a:lnTo>
                  <a:pt x="172" y="130"/>
                </a:lnTo>
                <a:lnTo>
                  <a:pt x="176" y="132"/>
                </a:lnTo>
                <a:lnTo>
                  <a:pt x="178" y="136"/>
                </a:lnTo>
                <a:lnTo>
                  <a:pt x="178" y="136"/>
                </a:lnTo>
                <a:lnTo>
                  <a:pt x="180" y="146"/>
                </a:lnTo>
                <a:lnTo>
                  <a:pt x="184" y="154"/>
                </a:lnTo>
                <a:lnTo>
                  <a:pt x="188" y="158"/>
                </a:lnTo>
                <a:lnTo>
                  <a:pt x="192" y="160"/>
                </a:lnTo>
                <a:lnTo>
                  <a:pt x="198" y="162"/>
                </a:lnTo>
                <a:lnTo>
                  <a:pt x="204" y="162"/>
                </a:lnTo>
                <a:lnTo>
                  <a:pt x="204" y="162"/>
                </a:lnTo>
                <a:lnTo>
                  <a:pt x="210" y="164"/>
                </a:lnTo>
                <a:lnTo>
                  <a:pt x="212" y="168"/>
                </a:lnTo>
                <a:lnTo>
                  <a:pt x="212" y="168"/>
                </a:lnTo>
                <a:lnTo>
                  <a:pt x="210" y="174"/>
                </a:lnTo>
                <a:lnTo>
                  <a:pt x="204" y="176"/>
                </a:lnTo>
                <a:lnTo>
                  <a:pt x="204" y="176"/>
                </a:lnTo>
                <a:close/>
              </a:path>
            </a:pathLst>
          </a:custGeom>
          <a:solidFill>
            <a:srgbClr val="024D6E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sz="200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5" name="Google Shape;2963;p117">
            <a:extLst>
              <a:ext uri="{FF2B5EF4-FFF2-40B4-BE49-F238E27FC236}">
                <a16:creationId xmlns:a16="http://schemas.microsoft.com/office/drawing/2014/main" id="{FF94B8B8-E8DC-4B4D-BCA2-E22A73CDD11A}"/>
              </a:ext>
            </a:extLst>
          </p:cNvPr>
          <p:cNvSpPr/>
          <p:nvPr/>
        </p:nvSpPr>
        <p:spPr>
          <a:xfrm>
            <a:off x="714568" y="3560763"/>
            <a:ext cx="709653" cy="709653"/>
          </a:xfrm>
          <a:prstGeom prst="ellipse">
            <a:avLst/>
          </a:prstGeom>
          <a:solidFill>
            <a:schemeClr val="lt2"/>
          </a:solidFill>
          <a:ln w="12700" cap="flat" cmpd="sng">
            <a:solidFill>
              <a:srgbClr val="024D6E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sz="2000">
              <a:solidFill>
                <a:prstClr val="white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6" name="Google Shape;10777;p193">
            <a:extLst>
              <a:ext uri="{FF2B5EF4-FFF2-40B4-BE49-F238E27FC236}">
                <a16:creationId xmlns:a16="http://schemas.microsoft.com/office/drawing/2014/main" id="{E76369E6-720B-4225-8C20-73CF259DB2A5}"/>
              </a:ext>
            </a:extLst>
          </p:cNvPr>
          <p:cNvSpPr/>
          <p:nvPr/>
        </p:nvSpPr>
        <p:spPr>
          <a:xfrm>
            <a:off x="785766" y="3690772"/>
            <a:ext cx="567260" cy="453808"/>
          </a:xfrm>
          <a:custGeom>
            <a:avLst/>
            <a:gdLst/>
            <a:ahLst/>
            <a:cxnLst/>
            <a:rect l="l" t="t" r="r" b="b"/>
            <a:pathLst>
              <a:path w="500" h="400" extrusionOk="0">
                <a:moveTo>
                  <a:pt x="498" y="166"/>
                </a:moveTo>
                <a:lnTo>
                  <a:pt x="498" y="166"/>
                </a:lnTo>
                <a:lnTo>
                  <a:pt x="478" y="164"/>
                </a:lnTo>
                <a:lnTo>
                  <a:pt x="460" y="162"/>
                </a:lnTo>
                <a:lnTo>
                  <a:pt x="440" y="156"/>
                </a:lnTo>
                <a:lnTo>
                  <a:pt x="422" y="150"/>
                </a:lnTo>
                <a:lnTo>
                  <a:pt x="406" y="142"/>
                </a:lnTo>
                <a:lnTo>
                  <a:pt x="388" y="130"/>
                </a:lnTo>
                <a:lnTo>
                  <a:pt x="374" y="120"/>
                </a:lnTo>
                <a:lnTo>
                  <a:pt x="358" y="106"/>
                </a:lnTo>
                <a:lnTo>
                  <a:pt x="358" y="106"/>
                </a:lnTo>
                <a:lnTo>
                  <a:pt x="358" y="106"/>
                </a:lnTo>
                <a:lnTo>
                  <a:pt x="358" y="106"/>
                </a:lnTo>
                <a:lnTo>
                  <a:pt x="356" y="104"/>
                </a:lnTo>
                <a:lnTo>
                  <a:pt x="356" y="104"/>
                </a:lnTo>
                <a:lnTo>
                  <a:pt x="352" y="102"/>
                </a:lnTo>
                <a:lnTo>
                  <a:pt x="286" y="102"/>
                </a:lnTo>
                <a:lnTo>
                  <a:pt x="260" y="8"/>
                </a:lnTo>
                <a:lnTo>
                  <a:pt x="260" y="8"/>
                </a:lnTo>
                <a:lnTo>
                  <a:pt x="260" y="6"/>
                </a:lnTo>
                <a:lnTo>
                  <a:pt x="260" y="6"/>
                </a:lnTo>
                <a:lnTo>
                  <a:pt x="258" y="4"/>
                </a:lnTo>
                <a:lnTo>
                  <a:pt x="258" y="4"/>
                </a:lnTo>
                <a:lnTo>
                  <a:pt x="256" y="4"/>
                </a:lnTo>
                <a:lnTo>
                  <a:pt x="256" y="4"/>
                </a:lnTo>
                <a:lnTo>
                  <a:pt x="256" y="2"/>
                </a:lnTo>
                <a:lnTo>
                  <a:pt x="256" y="2"/>
                </a:lnTo>
                <a:lnTo>
                  <a:pt x="254" y="2"/>
                </a:lnTo>
                <a:lnTo>
                  <a:pt x="254" y="2"/>
                </a:lnTo>
                <a:lnTo>
                  <a:pt x="252" y="0"/>
                </a:lnTo>
                <a:lnTo>
                  <a:pt x="252" y="0"/>
                </a:lnTo>
                <a:lnTo>
                  <a:pt x="252" y="0"/>
                </a:lnTo>
                <a:lnTo>
                  <a:pt x="252" y="0"/>
                </a:lnTo>
                <a:lnTo>
                  <a:pt x="250" y="0"/>
                </a:lnTo>
                <a:lnTo>
                  <a:pt x="250" y="0"/>
                </a:lnTo>
                <a:lnTo>
                  <a:pt x="248" y="0"/>
                </a:lnTo>
                <a:lnTo>
                  <a:pt x="248" y="0"/>
                </a:lnTo>
                <a:lnTo>
                  <a:pt x="248" y="0"/>
                </a:lnTo>
                <a:lnTo>
                  <a:pt x="248" y="0"/>
                </a:lnTo>
                <a:lnTo>
                  <a:pt x="246" y="2"/>
                </a:lnTo>
                <a:lnTo>
                  <a:pt x="246" y="2"/>
                </a:lnTo>
                <a:lnTo>
                  <a:pt x="244" y="2"/>
                </a:lnTo>
                <a:lnTo>
                  <a:pt x="244" y="2"/>
                </a:lnTo>
                <a:lnTo>
                  <a:pt x="244" y="4"/>
                </a:lnTo>
                <a:lnTo>
                  <a:pt x="244" y="4"/>
                </a:lnTo>
                <a:lnTo>
                  <a:pt x="242" y="4"/>
                </a:lnTo>
                <a:lnTo>
                  <a:pt x="242" y="4"/>
                </a:lnTo>
                <a:lnTo>
                  <a:pt x="240" y="6"/>
                </a:lnTo>
                <a:lnTo>
                  <a:pt x="240" y="6"/>
                </a:lnTo>
                <a:lnTo>
                  <a:pt x="240" y="8"/>
                </a:lnTo>
                <a:lnTo>
                  <a:pt x="214" y="102"/>
                </a:lnTo>
                <a:lnTo>
                  <a:pt x="148" y="102"/>
                </a:lnTo>
                <a:lnTo>
                  <a:pt x="148" y="102"/>
                </a:lnTo>
                <a:lnTo>
                  <a:pt x="144" y="104"/>
                </a:lnTo>
                <a:lnTo>
                  <a:pt x="144" y="104"/>
                </a:lnTo>
                <a:lnTo>
                  <a:pt x="142" y="106"/>
                </a:lnTo>
                <a:lnTo>
                  <a:pt x="142" y="106"/>
                </a:lnTo>
                <a:lnTo>
                  <a:pt x="142" y="106"/>
                </a:lnTo>
                <a:lnTo>
                  <a:pt x="142" y="106"/>
                </a:lnTo>
                <a:lnTo>
                  <a:pt x="126" y="120"/>
                </a:lnTo>
                <a:lnTo>
                  <a:pt x="112" y="130"/>
                </a:lnTo>
                <a:lnTo>
                  <a:pt x="94" y="142"/>
                </a:lnTo>
                <a:lnTo>
                  <a:pt x="78" y="150"/>
                </a:lnTo>
                <a:lnTo>
                  <a:pt x="60" y="156"/>
                </a:lnTo>
                <a:lnTo>
                  <a:pt x="40" y="162"/>
                </a:lnTo>
                <a:lnTo>
                  <a:pt x="22" y="164"/>
                </a:lnTo>
                <a:lnTo>
                  <a:pt x="2" y="166"/>
                </a:lnTo>
                <a:lnTo>
                  <a:pt x="2" y="166"/>
                </a:lnTo>
                <a:lnTo>
                  <a:pt x="0" y="186"/>
                </a:lnTo>
                <a:lnTo>
                  <a:pt x="0" y="186"/>
                </a:lnTo>
                <a:lnTo>
                  <a:pt x="0" y="186"/>
                </a:lnTo>
                <a:lnTo>
                  <a:pt x="0" y="186"/>
                </a:lnTo>
                <a:lnTo>
                  <a:pt x="0" y="186"/>
                </a:lnTo>
                <a:lnTo>
                  <a:pt x="0" y="186"/>
                </a:lnTo>
                <a:lnTo>
                  <a:pt x="20" y="184"/>
                </a:lnTo>
                <a:lnTo>
                  <a:pt x="40" y="182"/>
                </a:lnTo>
                <a:lnTo>
                  <a:pt x="60" y="176"/>
                </a:lnTo>
                <a:lnTo>
                  <a:pt x="80" y="170"/>
                </a:lnTo>
                <a:lnTo>
                  <a:pt x="98" y="162"/>
                </a:lnTo>
                <a:lnTo>
                  <a:pt x="116" y="152"/>
                </a:lnTo>
                <a:lnTo>
                  <a:pt x="134" y="140"/>
                </a:lnTo>
                <a:lnTo>
                  <a:pt x="150" y="126"/>
                </a:lnTo>
                <a:lnTo>
                  <a:pt x="200" y="156"/>
                </a:lnTo>
                <a:lnTo>
                  <a:pt x="138" y="388"/>
                </a:lnTo>
                <a:lnTo>
                  <a:pt x="138" y="388"/>
                </a:lnTo>
                <a:lnTo>
                  <a:pt x="138" y="392"/>
                </a:lnTo>
                <a:lnTo>
                  <a:pt x="140" y="394"/>
                </a:lnTo>
                <a:lnTo>
                  <a:pt x="142" y="398"/>
                </a:lnTo>
                <a:lnTo>
                  <a:pt x="146" y="400"/>
                </a:lnTo>
                <a:lnTo>
                  <a:pt x="146" y="400"/>
                </a:lnTo>
                <a:lnTo>
                  <a:pt x="148" y="400"/>
                </a:lnTo>
                <a:lnTo>
                  <a:pt x="148" y="400"/>
                </a:lnTo>
                <a:lnTo>
                  <a:pt x="154" y="398"/>
                </a:lnTo>
                <a:lnTo>
                  <a:pt x="158" y="392"/>
                </a:lnTo>
                <a:lnTo>
                  <a:pt x="164" y="372"/>
                </a:lnTo>
                <a:lnTo>
                  <a:pt x="250" y="322"/>
                </a:lnTo>
                <a:lnTo>
                  <a:pt x="336" y="372"/>
                </a:lnTo>
                <a:lnTo>
                  <a:pt x="342" y="392"/>
                </a:lnTo>
                <a:lnTo>
                  <a:pt x="342" y="392"/>
                </a:lnTo>
                <a:lnTo>
                  <a:pt x="346" y="398"/>
                </a:lnTo>
                <a:lnTo>
                  <a:pt x="352" y="400"/>
                </a:lnTo>
                <a:lnTo>
                  <a:pt x="352" y="400"/>
                </a:lnTo>
                <a:lnTo>
                  <a:pt x="354" y="400"/>
                </a:lnTo>
                <a:lnTo>
                  <a:pt x="354" y="400"/>
                </a:lnTo>
                <a:lnTo>
                  <a:pt x="358" y="398"/>
                </a:lnTo>
                <a:lnTo>
                  <a:pt x="360" y="394"/>
                </a:lnTo>
                <a:lnTo>
                  <a:pt x="362" y="392"/>
                </a:lnTo>
                <a:lnTo>
                  <a:pt x="362" y="388"/>
                </a:lnTo>
                <a:lnTo>
                  <a:pt x="300" y="156"/>
                </a:lnTo>
                <a:lnTo>
                  <a:pt x="350" y="126"/>
                </a:lnTo>
                <a:lnTo>
                  <a:pt x="350" y="126"/>
                </a:lnTo>
                <a:lnTo>
                  <a:pt x="366" y="140"/>
                </a:lnTo>
                <a:lnTo>
                  <a:pt x="384" y="152"/>
                </a:lnTo>
                <a:lnTo>
                  <a:pt x="402" y="162"/>
                </a:lnTo>
                <a:lnTo>
                  <a:pt x="420" y="170"/>
                </a:lnTo>
                <a:lnTo>
                  <a:pt x="438" y="176"/>
                </a:lnTo>
                <a:lnTo>
                  <a:pt x="458" y="182"/>
                </a:lnTo>
                <a:lnTo>
                  <a:pt x="480" y="184"/>
                </a:lnTo>
                <a:lnTo>
                  <a:pt x="500" y="186"/>
                </a:lnTo>
                <a:lnTo>
                  <a:pt x="500" y="186"/>
                </a:lnTo>
                <a:lnTo>
                  <a:pt x="500" y="186"/>
                </a:lnTo>
                <a:lnTo>
                  <a:pt x="500" y="186"/>
                </a:lnTo>
                <a:lnTo>
                  <a:pt x="500" y="186"/>
                </a:lnTo>
                <a:lnTo>
                  <a:pt x="500" y="186"/>
                </a:lnTo>
                <a:lnTo>
                  <a:pt x="498" y="166"/>
                </a:lnTo>
                <a:lnTo>
                  <a:pt x="498" y="166"/>
                </a:lnTo>
                <a:close/>
                <a:moveTo>
                  <a:pt x="286" y="182"/>
                </a:moveTo>
                <a:lnTo>
                  <a:pt x="270" y="172"/>
                </a:lnTo>
                <a:lnTo>
                  <a:pt x="282" y="166"/>
                </a:lnTo>
                <a:lnTo>
                  <a:pt x="286" y="182"/>
                </a:lnTo>
                <a:close/>
                <a:moveTo>
                  <a:pt x="280" y="202"/>
                </a:moveTo>
                <a:lnTo>
                  <a:pt x="250" y="220"/>
                </a:lnTo>
                <a:lnTo>
                  <a:pt x="220" y="202"/>
                </a:lnTo>
                <a:lnTo>
                  <a:pt x="250" y="184"/>
                </a:lnTo>
                <a:lnTo>
                  <a:pt x="280" y="202"/>
                </a:lnTo>
                <a:close/>
                <a:moveTo>
                  <a:pt x="250" y="50"/>
                </a:moveTo>
                <a:lnTo>
                  <a:pt x="264" y="102"/>
                </a:lnTo>
                <a:lnTo>
                  <a:pt x="236" y="102"/>
                </a:lnTo>
                <a:lnTo>
                  <a:pt x="250" y="50"/>
                </a:lnTo>
                <a:close/>
                <a:moveTo>
                  <a:pt x="230" y="122"/>
                </a:moveTo>
                <a:lnTo>
                  <a:pt x="270" y="122"/>
                </a:lnTo>
                <a:lnTo>
                  <a:pt x="276" y="146"/>
                </a:lnTo>
                <a:lnTo>
                  <a:pt x="250" y="162"/>
                </a:lnTo>
                <a:lnTo>
                  <a:pt x="224" y="146"/>
                </a:lnTo>
                <a:lnTo>
                  <a:pt x="230" y="122"/>
                </a:lnTo>
                <a:close/>
                <a:moveTo>
                  <a:pt x="218" y="166"/>
                </a:moveTo>
                <a:lnTo>
                  <a:pt x="230" y="172"/>
                </a:lnTo>
                <a:lnTo>
                  <a:pt x="214" y="182"/>
                </a:lnTo>
                <a:lnTo>
                  <a:pt x="218" y="166"/>
                </a:lnTo>
                <a:close/>
                <a:moveTo>
                  <a:pt x="184" y="122"/>
                </a:moveTo>
                <a:lnTo>
                  <a:pt x="210" y="122"/>
                </a:lnTo>
                <a:lnTo>
                  <a:pt x="206" y="136"/>
                </a:lnTo>
                <a:lnTo>
                  <a:pt x="184" y="122"/>
                </a:lnTo>
                <a:close/>
                <a:moveTo>
                  <a:pt x="206" y="216"/>
                </a:moveTo>
                <a:lnTo>
                  <a:pt x="230" y="232"/>
                </a:lnTo>
                <a:lnTo>
                  <a:pt x="196" y="250"/>
                </a:lnTo>
                <a:lnTo>
                  <a:pt x="206" y="216"/>
                </a:lnTo>
                <a:close/>
                <a:moveTo>
                  <a:pt x="170" y="346"/>
                </a:moveTo>
                <a:lnTo>
                  <a:pt x="186" y="286"/>
                </a:lnTo>
                <a:lnTo>
                  <a:pt x="230" y="312"/>
                </a:lnTo>
                <a:lnTo>
                  <a:pt x="170" y="346"/>
                </a:lnTo>
                <a:close/>
                <a:moveTo>
                  <a:pt x="200" y="272"/>
                </a:moveTo>
                <a:lnTo>
                  <a:pt x="250" y="242"/>
                </a:lnTo>
                <a:lnTo>
                  <a:pt x="300" y="272"/>
                </a:lnTo>
                <a:lnTo>
                  <a:pt x="250" y="300"/>
                </a:lnTo>
                <a:lnTo>
                  <a:pt x="200" y="272"/>
                </a:lnTo>
                <a:close/>
                <a:moveTo>
                  <a:pt x="330" y="346"/>
                </a:moveTo>
                <a:lnTo>
                  <a:pt x="270" y="312"/>
                </a:lnTo>
                <a:lnTo>
                  <a:pt x="314" y="286"/>
                </a:lnTo>
                <a:lnTo>
                  <a:pt x="330" y="346"/>
                </a:lnTo>
                <a:close/>
                <a:moveTo>
                  <a:pt x="304" y="250"/>
                </a:moveTo>
                <a:lnTo>
                  <a:pt x="270" y="232"/>
                </a:lnTo>
                <a:lnTo>
                  <a:pt x="294" y="216"/>
                </a:lnTo>
                <a:lnTo>
                  <a:pt x="304" y="250"/>
                </a:lnTo>
                <a:close/>
                <a:moveTo>
                  <a:pt x="294" y="136"/>
                </a:moveTo>
                <a:lnTo>
                  <a:pt x="290" y="122"/>
                </a:lnTo>
                <a:lnTo>
                  <a:pt x="316" y="122"/>
                </a:lnTo>
                <a:lnTo>
                  <a:pt x="294" y="136"/>
                </a:lnTo>
                <a:close/>
              </a:path>
            </a:pathLst>
          </a:custGeom>
          <a:solidFill>
            <a:srgbClr val="024D6E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sz="200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7" name="Google Shape;2963;p117">
            <a:extLst>
              <a:ext uri="{FF2B5EF4-FFF2-40B4-BE49-F238E27FC236}">
                <a16:creationId xmlns:a16="http://schemas.microsoft.com/office/drawing/2014/main" id="{FBC1378B-294B-4DC4-BF01-581F67389DF6}"/>
              </a:ext>
            </a:extLst>
          </p:cNvPr>
          <p:cNvSpPr/>
          <p:nvPr/>
        </p:nvSpPr>
        <p:spPr>
          <a:xfrm>
            <a:off x="768967" y="5045782"/>
            <a:ext cx="618439" cy="618439"/>
          </a:xfrm>
          <a:prstGeom prst="ellipse">
            <a:avLst/>
          </a:prstGeom>
          <a:solidFill>
            <a:schemeClr val="lt2"/>
          </a:solidFill>
          <a:ln w="12700" cap="flat" cmpd="sng">
            <a:solidFill>
              <a:srgbClr val="024D6E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 defTabSz="1219170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</a:pPr>
            <a:endParaRPr sz="2000">
              <a:solidFill>
                <a:prstClr val="white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38" name="Google Shape;11021;p195">
            <a:extLst>
              <a:ext uri="{FF2B5EF4-FFF2-40B4-BE49-F238E27FC236}">
                <a16:creationId xmlns:a16="http://schemas.microsoft.com/office/drawing/2014/main" id="{7EB7A4C8-14A0-4243-8778-FEC270E5DCB8}"/>
              </a:ext>
            </a:extLst>
          </p:cNvPr>
          <p:cNvSpPr/>
          <p:nvPr/>
        </p:nvSpPr>
        <p:spPr>
          <a:xfrm>
            <a:off x="907324" y="5198376"/>
            <a:ext cx="341723" cy="313245"/>
          </a:xfrm>
          <a:custGeom>
            <a:avLst/>
            <a:gdLst/>
            <a:ahLst/>
            <a:cxnLst/>
            <a:rect l="l" t="t" r="r" b="b"/>
            <a:pathLst>
              <a:path w="360" h="330" extrusionOk="0">
                <a:moveTo>
                  <a:pt x="358" y="130"/>
                </a:moveTo>
                <a:lnTo>
                  <a:pt x="310" y="80"/>
                </a:lnTo>
                <a:lnTo>
                  <a:pt x="310" y="36"/>
                </a:lnTo>
                <a:lnTo>
                  <a:pt x="310" y="36"/>
                </a:lnTo>
                <a:lnTo>
                  <a:pt x="310" y="34"/>
                </a:lnTo>
                <a:lnTo>
                  <a:pt x="310" y="34"/>
                </a:lnTo>
                <a:lnTo>
                  <a:pt x="310" y="32"/>
                </a:lnTo>
                <a:lnTo>
                  <a:pt x="310" y="32"/>
                </a:lnTo>
                <a:lnTo>
                  <a:pt x="310" y="32"/>
                </a:lnTo>
                <a:lnTo>
                  <a:pt x="310" y="32"/>
                </a:lnTo>
                <a:lnTo>
                  <a:pt x="310" y="32"/>
                </a:lnTo>
                <a:lnTo>
                  <a:pt x="310" y="32"/>
                </a:lnTo>
                <a:lnTo>
                  <a:pt x="308" y="30"/>
                </a:lnTo>
                <a:lnTo>
                  <a:pt x="308" y="30"/>
                </a:lnTo>
                <a:lnTo>
                  <a:pt x="308" y="30"/>
                </a:lnTo>
                <a:lnTo>
                  <a:pt x="308" y="30"/>
                </a:lnTo>
                <a:lnTo>
                  <a:pt x="308" y="28"/>
                </a:lnTo>
                <a:lnTo>
                  <a:pt x="308" y="28"/>
                </a:lnTo>
                <a:lnTo>
                  <a:pt x="306" y="28"/>
                </a:lnTo>
                <a:lnTo>
                  <a:pt x="306" y="28"/>
                </a:lnTo>
                <a:lnTo>
                  <a:pt x="306" y="28"/>
                </a:lnTo>
                <a:lnTo>
                  <a:pt x="274" y="12"/>
                </a:lnTo>
                <a:lnTo>
                  <a:pt x="274" y="12"/>
                </a:lnTo>
                <a:lnTo>
                  <a:pt x="272" y="12"/>
                </a:lnTo>
                <a:lnTo>
                  <a:pt x="268" y="12"/>
                </a:lnTo>
                <a:lnTo>
                  <a:pt x="254" y="20"/>
                </a:lnTo>
                <a:lnTo>
                  <a:pt x="238" y="2"/>
                </a:lnTo>
                <a:lnTo>
                  <a:pt x="238" y="2"/>
                </a:lnTo>
                <a:lnTo>
                  <a:pt x="232" y="0"/>
                </a:lnTo>
                <a:lnTo>
                  <a:pt x="226" y="0"/>
                </a:lnTo>
                <a:lnTo>
                  <a:pt x="114" y="58"/>
                </a:lnTo>
                <a:lnTo>
                  <a:pt x="110" y="58"/>
                </a:lnTo>
                <a:lnTo>
                  <a:pt x="110" y="58"/>
                </a:lnTo>
                <a:lnTo>
                  <a:pt x="110" y="60"/>
                </a:lnTo>
                <a:lnTo>
                  <a:pt x="110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2" y="158"/>
                </a:lnTo>
                <a:lnTo>
                  <a:pt x="2" y="158"/>
                </a:lnTo>
                <a:lnTo>
                  <a:pt x="0" y="164"/>
                </a:lnTo>
                <a:lnTo>
                  <a:pt x="0" y="170"/>
                </a:lnTo>
                <a:lnTo>
                  <a:pt x="0" y="170"/>
                </a:lnTo>
                <a:lnTo>
                  <a:pt x="4" y="174"/>
                </a:lnTo>
                <a:lnTo>
                  <a:pt x="10" y="176"/>
                </a:lnTo>
                <a:lnTo>
                  <a:pt x="10" y="176"/>
                </a:lnTo>
                <a:lnTo>
                  <a:pt x="10" y="176"/>
                </a:lnTo>
                <a:lnTo>
                  <a:pt x="40" y="172"/>
                </a:lnTo>
                <a:lnTo>
                  <a:pt x="40" y="304"/>
                </a:lnTo>
                <a:lnTo>
                  <a:pt x="40" y="304"/>
                </a:lnTo>
                <a:lnTo>
                  <a:pt x="42" y="308"/>
                </a:lnTo>
                <a:lnTo>
                  <a:pt x="44" y="312"/>
                </a:lnTo>
                <a:lnTo>
                  <a:pt x="46" y="314"/>
                </a:lnTo>
                <a:lnTo>
                  <a:pt x="50" y="314"/>
                </a:lnTo>
                <a:lnTo>
                  <a:pt x="220" y="330"/>
                </a:lnTo>
                <a:lnTo>
                  <a:pt x="220" y="330"/>
                </a:lnTo>
                <a:lnTo>
                  <a:pt x="220" y="330"/>
                </a:lnTo>
                <a:lnTo>
                  <a:pt x="220" y="330"/>
                </a:lnTo>
                <a:lnTo>
                  <a:pt x="224" y="330"/>
                </a:lnTo>
                <a:lnTo>
                  <a:pt x="224" y="330"/>
                </a:lnTo>
                <a:lnTo>
                  <a:pt x="224" y="330"/>
                </a:lnTo>
                <a:lnTo>
                  <a:pt x="224" y="330"/>
                </a:lnTo>
                <a:lnTo>
                  <a:pt x="224" y="330"/>
                </a:lnTo>
                <a:lnTo>
                  <a:pt x="322" y="282"/>
                </a:lnTo>
                <a:lnTo>
                  <a:pt x="322" y="282"/>
                </a:lnTo>
                <a:lnTo>
                  <a:pt x="326" y="278"/>
                </a:lnTo>
                <a:lnTo>
                  <a:pt x="326" y="272"/>
                </a:lnTo>
                <a:lnTo>
                  <a:pt x="326" y="160"/>
                </a:lnTo>
                <a:lnTo>
                  <a:pt x="356" y="146"/>
                </a:lnTo>
                <a:lnTo>
                  <a:pt x="356" y="146"/>
                </a:lnTo>
                <a:lnTo>
                  <a:pt x="358" y="142"/>
                </a:lnTo>
                <a:lnTo>
                  <a:pt x="360" y="138"/>
                </a:lnTo>
                <a:lnTo>
                  <a:pt x="360" y="138"/>
                </a:lnTo>
                <a:lnTo>
                  <a:pt x="360" y="134"/>
                </a:lnTo>
                <a:lnTo>
                  <a:pt x="358" y="130"/>
                </a:lnTo>
                <a:lnTo>
                  <a:pt x="358" y="130"/>
                </a:lnTo>
                <a:close/>
                <a:moveTo>
                  <a:pt x="210" y="310"/>
                </a:moveTo>
                <a:lnTo>
                  <a:pt x="150" y="304"/>
                </a:lnTo>
                <a:lnTo>
                  <a:pt x="150" y="208"/>
                </a:lnTo>
                <a:lnTo>
                  <a:pt x="150" y="208"/>
                </a:lnTo>
                <a:lnTo>
                  <a:pt x="148" y="200"/>
                </a:lnTo>
                <a:lnTo>
                  <a:pt x="144" y="192"/>
                </a:lnTo>
                <a:lnTo>
                  <a:pt x="136" y="186"/>
                </a:lnTo>
                <a:lnTo>
                  <a:pt x="128" y="184"/>
                </a:lnTo>
                <a:lnTo>
                  <a:pt x="128" y="184"/>
                </a:lnTo>
                <a:lnTo>
                  <a:pt x="120" y="184"/>
                </a:lnTo>
                <a:lnTo>
                  <a:pt x="112" y="188"/>
                </a:lnTo>
                <a:lnTo>
                  <a:pt x="108" y="196"/>
                </a:lnTo>
                <a:lnTo>
                  <a:pt x="106" y="204"/>
                </a:lnTo>
                <a:lnTo>
                  <a:pt x="106" y="300"/>
                </a:lnTo>
                <a:lnTo>
                  <a:pt x="60" y="296"/>
                </a:lnTo>
                <a:lnTo>
                  <a:pt x="60" y="138"/>
                </a:lnTo>
                <a:lnTo>
                  <a:pt x="118" y="86"/>
                </a:lnTo>
                <a:lnTo>
                  <a:pt x="210" y="182"/>
                </a:lnTo>
                <a:lnTo>
                  <a:pt x="210" y="310"/>
                </a:lnTo>
                <a:close/>
                <a:moveTo>
                  <a:pt x="272" y="28"/>
                </a:moveTo>
                <a:lnTo>
                  <a:pt x="286" y="36"/>
                </a:lnTo>
                <a:lnTo>
                  <a:pt x="264" y="46"/>
                </a:lnTo>
                <a:lnTo>
                  <a:pt x="250" y="40"/>
                </a:lnTo>
                <a:lnTo>
                  <a:pt x="272" y="28"/>
                </a:lnTo>
                <a:close/>
                <a:moveTo>
                  <a:pt x="294" y="48"/>
                </a:moveTo>
                <a:lnTo>
                  <a:pt x="294" y="124"/>
                </a:lnTo>
                <a:lnTo>
                  <a:pt x="272" y="136"/>
                </a:lnTo>
                <a:lnTo>
                  <a:pt x="272" y="60"/>
                </a:lnTo>
                <a:lnTo>
                  <a:pt x="294" y="48"/>
                </a:lnTo>
                <a:close/>
                <a:moveTo>
                  <a:pt x="240" y="52"/>
                </a:moveTo>
                <a:lnTo>
                  <a:pt x="256" y="60"/>
                </a:lnTo>
                <a:lnTo>
                  <a:pt x="256" y="136"/>
                </a:lnTo>
                <a:lnTo>
                  <a:pt x="240" y="128"/>
                </a:lnTo>
                <a:lnTo>
                  <a:pt x="240" y="52"/>
                </a:lnTo>
                <a:close/>
                <a:moveTo>
                  <a:pt x="306" y="266"/>
                </a:moveTo>
                <a:lnTo>
                  <a:pt x="230" y="304"/>
                </a:lnTo>
                <a:lnTo>
                  <a:pt x="230" y="204"/>
                </a:lnTo>
                <a:lnTo>
                  <a:pt x="230" y="204"/>
                </a:lnTo>
                <a:lnTo>
                  <a:pt x="236" y="206"/>
                </a:lnTo>
                <a:lnTo>
                  <a:pt x="236" y="206"/>
                </a:lnTo>
                <a:lnTo>
                  <a:pt x="240" y="204"/>
                </a:lnTo>
                <a:lnTo>
                  <a:pt x="306" y="170"/>
                </a:lnTo>
                <a:lnTo>
                  <a:pt x="306" y="266"/>
                </a:lnTo>
                <a:close/>
              </a:path>
            </a:pathLst>
          </a:custGeom>
          <a:solidFill>
            <a:srgbClr val="024D6E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endParaRPr sz="200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5DF651BA-5DA9-424F-BABD-EB0714A65473}"/>
              </a:ext>
            </a:extLst>
          </p:cNvPr>
          <p:cNvSpPr/>
          <p:nvPr/>
        </p:nvSpPr>
        <p:spPr>
          <a:xfrm>
            <a:off x="8882781" y="1240895"/>
            <a:ext cx="6096000" cy="748988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2667" b="1">
                <a:solidFill>
                  <a:srgbClr val="024D6E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14 mrd. kr </a:t>
            </a:r>
          </a:p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600">
                <a:solidFill>
                  <a:srgbClr val="024D6E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årlig omsetning</a:t>
            </a: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A3787850-6BC3-4487-BC54-DBD2B1E357D6}"/>
              </a:ext>
            </a:extLst>
          </p:cNvPr>
          <p:cNvSpPr/>
          <p:nvPr/>
        </p:nvSpPr>
        <p:spPr>
          <a:xfrm>
            <a:off x="8882781" y="2360711"/>
            <a:ext cx="6096000" cy="748988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2667" b="1">
                <a:solidFill>
                  <a:srgbClr val="024D6E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1,000</a:t>
            </a:r>
          </a:p>
          <a:p>
            <a:pPr defTabSz="121917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nb-NO" sz="1600">
                <a:solidFill>
                  <a:srgbClr val="024D6E"/>
                </a:solidFill>
                <a:latin typeface="Arial" panose="020B0604020202020204" pitchFamily="34" charset="0"/>
                <a:ea typeface="ＭＳ Ｐゴシック" panose="020B0600070205080204" pitchFamily="34" charset="-128"/>
              </a:rPr>
              <a:t>ansatte</a:t>
            </a:r>
          </a:p>
        </p:txBody>
      </p:sp>
    </p:spTree>
    <p:extLst>
      <p:ext uri="{BB962C8B-B14F-4D97-AF65-F5344CB8AC3E}">
        <p14:creationId xmlns:p14="http://schemas.microsoft.com/office/powerpoint/2010/main" val="20622806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kart&#10;&#10;Automatisk generert beskrivelse">
            <a:extLst>
              <a:ext uri="{FF2B5EF4-FFF2-40B4-BE49-F238E27FC236}">
                <a16:creationId xmlns:a16="http://schemas.microsoft.com/office/drawing/2014/main" id="{D5594391-9983-4DD6-978D-457C6326F2B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8267" y="643466"/>
            <a:ext cx="10175466" cy="55710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5944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5C234497-4439-48AB-81D1-252D6CC548A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nb-NO" dirty="0"/>
              <a:t>Koronaåret 2020: rekordlave kraftpriser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9056E898-C880-483D-ABEB-6F70AC69F38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E695941C-06FE-4F7A-8C3B-F57FD4BAFB32}"/>
              </a:ext>
            </a:extLst>
          </p:cNvPr>
          <p:cNvSpPr txBox="1"/>
          <p:nvPr/>
        </p:nvSpPr>
        <p:spPr>
          <a:xfrm>
            <a:off x="242047" y="6329082"/>
            <a:ext cx="21604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/>
              <a:t>Kilde: </a:t>
            </a:r>
            <a:r>
              <a:rPr lang="nb-NO" sz="1200" dirty="0" err="1"/>
              <a:t>Nordpool</a:t>
            </a:r>
            <a:r>
              <a:rPr lang="nb-NO" sz="1200" dirty="0"/>
              <a:t>.</a:t>
            </a:r>
          </a:p>
        </p:txBody>
      </p:sp>
      <p:pic>
        <p:nvPicPr>
          <p:cNvPr id="5" name="Bilde 4" descr="Et bilde som inneholder vann, mann, båt, bord&#10;&#10;Automatisk generert beskrivelse">
            <a:extLst>
              <a:ext uri="{FF2B5EF4-FFF2-40B4-BE49-F238E27FC236}">
                <a16:creationId xmlns:a16="http://schemas.microsoft.com/office/drawing/2014/main" id="{D061E559-188F-4749-9261-6EE0859885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46" y="836084"/>
            <a:ext cx="12166854" cy="4865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521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 descr="Et bilde som inneholder natur, fjell, utendørs, vann&#10;&#10;Automatisk generert beskrivelse">
            <a:extLst>
              <a:ext uri="{FF2B5EF4-FFF2-40B4-BE49-F238E27FC236}">
                <a16:creationId xmlns:a16="http://schemas.microsoft.com/office/drawing/2014/main" id="{D100A949-CDB8-40C1-9FDD-11A2E1A4AE8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852342"/>
            <a:ext cx="12192000" cy="8102032"/>
          </a:xfrm>
          <a:prstGeom prst="rect">
            <a:avLst/>
          </a:prstGeom>
        </p:spPr>
      </p:pic>
      <p:sp>
        <p:nvSpPr>
          <p:cNvPr id="4" name="Plassholder for tekst 2">
            <a:extLst>
              <a:ext uri="{FF2B5EF4-FFF2-40B4-BE49-F238E27FC236}">
                <a16:creationId xmlns:a16="http://schemas.microsoft.com/office/drawing/2014/main" id="{9F22FC67-9A90-4F4B-B33B-F1F14C7042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825096" y="579528"/>
            <a:ext cx="8257117" cy="575733"/>
          </a:xfrm>
        </p:spPr>
        <p:txBody>
          <a:bodyPr/>
          <a:lstStyle/>
          <a:p>
            <a:r>
              <a:rPr lang="nb-NO" dirty="0">
                <a:solidFill>
                  <a:schemeClr val="bg2"/>
                </a:solidFill>
              </a:rPr>
              <a:t>Utbygging av Fennefoss kraftverk</a:t>
            </a:r>
          </a:p>
        </p:txBody>
      </p:sp>
    </p:spTree>
    <p:extLst>
      <p:ext uri="{BB962C8B-B14F-4D97-AF65-F5344CB8AC3E}">
        <p14:creationId xmlns:p14="http://schemas.microsoft.com/office/powerpoint/2010/main" val="13319299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>
            <a:extLst>
              <a:ext uri="{FF2B5EF4-FFF2-40B4-BE49-F238E27FC236}">
                <a16:creationId xmlns:a16="http://schemas.microsoft.com/office/drawing/2014/main" id="{71213380-7CBB-4A44-A77F-59D3018FF3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6" imgW="353" imgH="353" progId="TCLayout.ActiveDocument.1">
                  <p:embed/>
                </p:oleObj>
              </mc:Choice>
              <mc:Fallback>
                <p:oleObj name="think-cell Slide" r:id="rId6" imgW="353" imgH="353" progId="TCLayout.ActiveDocument.1">
                  <p:embed/>
                  <p:pic>
                    <p:nvPicPr>
                      <p:cNvPr id="45" name="Object 44" hidden="1">
                        <a:extLst>
                          <a:ext uri="{FF2B5EF4-FFF2-40B4-BE49-F238E27FC236}">
                            <a16:creationId xmlns:a16="http://schemas.microsoft.com/office/drawing/2014/main" id="{71213380-7CBB-4A44-A77F-59D3018FF3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428A9422-2EF1-466D-B8F4-F889FDA098E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2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Next LT Pro" panose="020B0504020202020204"/>
              <a:ea typeface="+mn-ea"/>
              <a:cs typeface="Segoe UI" panose="020B0502040204020203" pitchFamily="34" charset="0"/>
              <a:sym typeface="AvenirNext LT Pro" panose="020B0504020202020204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A915F8E-5EDA-4761-8EF4-A83140B9535B}"/>
              </a:ext>
            </a:extLst>
          </p:cNvPr>
          <p:cNvGrpSpPr/>
          <p:nvPr/>
        </p:nvGrpSpPr>
        <p:grpSpPr>
          <a:xfrm>
            <a:off x="4296000" y="1605983"/>
            <a:ext cx="3449054" cy="403591"/>
            <a:chOff x="4296000" y="4060227"/>
            <a:chExt cx="3449054" cy="403591"/>
          </a:xfrm>
        </p:grpSpPr>
        <p:sp>
          <p:nvSpPr>
            <p:cNvPr id="17" name="TextBox 8">
              <a:extLst>
                <a:ext uri="{FF2B5EF4-FFF2-40B4-BE49-F238E27FC236}">
                  <a16:creationId xmlns:a16="http://schemas.microsoft.com/office/drawing/2014/main" id="{8E52B394-BF0F-594F-BFDE-DB49B504660A}"/>
                </a:ext>
              </a:extLst>
            </p:cNvPr>
            <p:cNvSpPr txBox="1"/>
            <p:nvPr/>
          </p:nvSpPr>
          <p:spPr>
            <a:xfrm>
              <a:off x="4786199" y="4169690"/>
              <a:ext cx="2958855" cy="184666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685577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nb-NO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C5E45"/>
                  </a:solidFill>
                  <a:effectLst/>
                  <a:uLnTx/>
                  <a:uFillTx/>
                  <a:latin typeface="AvenirNext LT Pro" panose="020B0504020202020204" pitchFamily="34" charset="77"/>
                  <a:ea typeface="+mn-ea"/>
                  <a:cs typeface="Arial" panose="020B0604020202020204" pitchFamily="34" charset="0"/>
                </a:rPr>
                <a:t>Globale fornybaraktører</a:t>
              </a:r>
            </a:p>
          </p:txBody>
        </p:sp>
        <p:grpSp>
          <p:nvGrpSpPr>
            <p:cNvPr id="28" name="Gruppe 27">
              <a:extLst>
                <a:ext uri="{FF2B5EF4-FFF2-40B4-BE49-F238E27FC236}">
                  <a16:creationId xmlns:a16="http://schemas.microsoft.com/office/drawing/2014/main" id="{05F07C3E-BAAC-364E-BC46-947E7DC9BD42}"/>
                </a:ext>
              </a:extLst>
            </p:cNvPr>
            <p:cNvGrpSpPr/>
            <p:nvPr/>
          </p:nvGrpSpPr>
          <p:grpSpPr>
            <a:xfrm>
              <a:off x="4296000" y="4060227"/>
              <a:ext cx="403592" cy="403591"/>
              <a:chOff x="1494698" y="6422128"/>
              <a:chExt cx="448122" cy="448121"/>
            </a:xfrm>
          </p:grpSpPr>
          <p:sp>
            <p:nvSpPr>
              <p:cNvPr id="29" name="Oval 79">
                <a:extLst>
                  <a:ext uri="{FF2B5EF4-FFF2-40B4-BE49-F238E27FC236}">
                    <a16:creationId xmlns:a16="http://schemas.microsoft.com/office/drawing/2014/main" id="{7473BBF4-15D5-BA42-B9D3-C50E3FE84C56}"/>
                  </a:ext>
                </a:extLst>
              </p:cNvPr>
              <p:cNvSpPr/>
              <p:nvPr/>
            </p:nvSpPr>
            <p:spPr>
              <a:xfrm>
                <a:off x="1494698" y="6422128"/>
                <a:ext cx="448122" cy="448121"/>
              </a:xfrm>
              <a:prstGeom prst="ellipse">
                <a:avLst/>
              </a:prstGeom>
              <a:solidFill>
                <a:srgbClr val="1C5F45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68559" tIns="0" rIns="68559" bIns="3428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685577" rtl="0" eaLnBrk="1" fontAlgn="auto" latinLnBrk="0" hangingPunct="1">
                  <a:lnSpc>
                    <a:spcPct val="100000"/>
                  </a:lnSpc>
                  <a:spcBef>
                    <a:spcPts val="225"/>
                  </a:spcBef>
                  <a:spcAft>
                    <a:spcPts val="225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Next LT Pro" panose="020B0504020202020204" pitchFamily="34" charset="77"/>
                  <a:ea typeface="+mn-ea"/>
                  <a:cs typeface="+mn-cs"/>
                </a:endParaRPr>
              </a:p>
            </p:txBody>
          </p:sp>
          <p:pic>
            <p:nvPicPr>
              <p:cNvPr id="30" name="Bilde 29">
                <a:extLst>
                  <a:ext uri="{FF2B5EF4-FFF2-40B4-BE49-F238E27FC236}">
                    <a16:creationId xmlns:a16="http://schemas.microsoft.com/office/drawing/2014/main" id="{A303C129-0123-B548-A54C-1CDD0AE0A65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1569277" y="6496706"/>
                <a:ext cx="298964" cy="298964"/>
              </a:xfrm>
              <a:prstGeom prst="rect">
                <a:avLst/>
              </a:prstGeom>
            </p:spPr>
          </p:pic>
        </p:grpSp>
      </p:grpSp>
      <p:grpSp>
        <p:nvGrpSpPr>
          <p:cNvPr id="15" name="Group 14">
            <a:extLst>
              <a:ext uri="{FF2B5EF4-FFF2-40B4-BE49-F238E27FC236}">
                <a16:creationId xmlns:a16="http://schemas.microsoft.com/office/drawing/2014/main" id="{9C3F0BCB-40DE-4277-B122-1192A649E445}"/>
              </a:ext>
            </a:extLst>
          </p:cNvPr>
          <p:cNvGrpSpPr/>
          <p:nvPr/>
        </p:nvGrpSpPr>
        <p:grpSpPr>
          <a:xfrm>
            <a:off x="4295999" y="4063190"/>
            <a:ext cx="2564175" cy="403591"/>
            <a:chOff x="4295999" y="1605983"/>
            <a:chExt cx="2564175" cy="403591"/>
          </a:xfrm>
        </p:grpSpPr>
        <p:sp>
          <p:nvSpPr>
            <p:cNvPr id="11" name="TextBox 20">
              <a:extLst>
                <a:ext uri="{FF2B5EF4-FFF2-40B4-BE49-F238E27FC236}">
                  <a16:creationId xmlns:a16="http://schemas.microsoft.com/office/drawing/2014/main" id="{14522626-DDD1-A942-9566-6D0AA79E845F}"/>
                </a:ext>
              </a:extLst>
            </p:cNvPr>
            <p:cNvSpPr txBox="1"/>
            <p:nvPr/>
          </p:nvSpPr>
          <p:spPr>
            <a:xfrm>
              <a:off x="4786200" y="1695155"/>
              <a:ext cx="2073974" cy="245452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685577" rtl="0" eaLnBrk="1" fontAlgn="auto" latinLnBrk="0" hangingPunct="1">
                <a:lnSpc>
                  <a:spcPts val="6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nb-NO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C5E45"/>
                  </a:solidFill>
                  <a:effectLst/>
                  <a:uLnTx/>
                  <a:uFillTx/>
                  <a:latin typeface="AvenirNext LT Pro" panose="020B0504020202020204" pitchFamily="34" charset="77"/>
                  <a:ea typeface="+mn-ea"/>
                  <a:cs typeface="Arial" panose="020B0604020202020204" pitchFamily="34" charset="0"/>
                </a:rPr>
                <a:t>Leverandørkjeden for havvind </a:t>
              </a:r>
            </a:p>
            <a:p>
              <a:pPr marL="0" marR="0" lvl="0" indent="0" algn="l" defTabSz="685577" rtl="0" eaLnBrk="1" fontAlgn="auto" latinLnBrk="0" hangingPunct="1">
                <a:lnSpc>
                  <a:spcPts val="6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nb-NO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1C5E45"/>
                  </a:solidFill>
                  <a:effectLst/>
                  <a:uLnTx/>
                  <a:uFillTx/>
                  <a:latin typeface="AvenirNext LT Pro" panose="020B0504020202020204" pitchFamily="34" charset="77"/>
                  <a:ea typeface="+mn-ea"/>
                  <a:cs typeface="Arial" panose="020B0604020202020204" pitchFamily="34" charset="0"/>
                </a:rPr>
                <a:t>(bunnfast og flytende)</a:t>
              </a:r>
            </a:p>
          </p:txBody>
        </p:sp>
        <p:grpSp>
          <p:nvGrpSpPr>
            <p:cNvPr id="51" name="Gruppe 36">
              <a:extLst>
                <a:ext uri="{FF2B5EF4-FFF2-40B4-BE49-F238E27FC236}">
                  <a16:creationId xmlns:a16="http://schemas.microsoft.com/office/drawing/2014/main" id="{8F2EBFBA-7BFD-4B2C-9186-2A5B5A020D3E}"/>
                </a:ext>
              </a:extLst>
            </p:cNvPr>
            <p:cNvGrpSpPr/>
            <p:nvPr/>
          </p:nvGrpSpPr>
          <p:grpSpPr>
            <a:xfrm>
              <a:off x="4295999" y="1605983"/>
              <a:ext cx="403592" cy="403591"/>
              <a:chOff x="1471710" y="2890127"/>
              <a:chExt cx="448122" cy="448121"/>
            </a:xfrm>
          </p:grpSpPr>
          <p:sp>
            <p:nvSpPr>
              <p:cNvPr id="52" name="Oval 55">
                <a:extLst>
                  <a:ext uri="{FF2B5EF4-FFF2-40B4-BE49-F238E27FC236}">
                    <a16:creationId xmlns:a16="http://schemas.microsoft.com/office/drawing/2014/main" id="{03E6DF6C-59A6-42CC-B0F1-24A8CFD416EA}"/>
                  </a:ext>
                </a:extLst>
              </p:cNvPr>
              <p:cNvSpPr/>
              <p:nvPr/>
            </p:nvSpPr>
            <p:spPr>
              <a:xfrm>
                <a:off x="1471710" y="2890127"/>
                <a:ext cx="448122" cy="448121"/>
              </a:xfrm>
              <a:prstGeom prst="ellipse">
                <a:avLst/>
              </a:prstGeom>
              <a:solidFill>
                <a:srgbClr val="1C5F45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68559" tIns="0" rIns="68559" bIns="3428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685577" rtl="0" eaLnBrk="1" fontAlgn="auto" latinLnBrk="0" hangingPunct="1">
                  <a:lnSpc>
                    <a:spcPct val="100000"/>
                  </a:lnSpc>
                  <a:spcBef>
                    <a:spcPts val="225"/>
                  </a:spcBef>
                  <a:spcAft>
                    <a:spcPts val="225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53" name="Bilde 38">
                <a:extLst>
                  <a:ext uri="{FF2B5EF4-FFF2-40B4-BE49-F238E27FC236}">
                    <a16:creationId xmlns:a16="http://schemas.microsoft.com/office/drawing/2014/main" id="{99CE3D2A-81CA-4C6D-8A52-396F0A11AD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580459" y="2978466"/>
                <a:ext cx="230624" cy="271442"/>
              </a:xfrm>
              <a:prstGeom prst="rect">
                <a:avLst/>
              </a:prstGeom>
            </p:spPr>
          </p:pic>
        </p:grp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5180D61D-71AE-4386-956B-74D08E6B5C64}"/>
              </a:ext>
            </a:extLst>
          </p:cNvPr>
          <p:cNvGrpSpPr/>
          <p:nvPr/>
        </p:nvGrpSpPr>
        <p:grpSpPr>
          <a:xfrm>
            <a:off x="8138968" y="4063190"/>
            <a:ext cx="2665792" cy="403591"/>
            <a:chOff x="453031" y="4060227"/>
            <a:chExt cx="2665792" cy="403591"/>
          </a:xfrm>
        </p:grpSpPr>
        <p:sp>
          <p:nvSpPr>
            <p:cNvPr id="3" name="TextBox 6">
              <a:extLst>
                <a:ext uri="{FF2B5EF4-FFF2-40B4-BE49-F238E27FC236}">
                  <a16:creationId xmlns:a16="http://schemas.microsoft.com/office/drawing/2014/main" id="{B7013E4A-49DF-D343-B2BA-B41C4CBF6D06}"/>
                </a:ext>
              </a:extLst>
            </p:cNvPr>
            <p:cNvSpPr txBox="1"/>
            <p:nvPr/>
          </p:nvSpPr>
          <p:spPr>
            <a:xfrm>
              <a:off x="943230" y="4169690"/>
              <a:ext cx="2175593" cy="184666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685577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nb-NO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C5E45"/>
                  </a:solidFill>
                  <a:effectLst/>
                  <a:uLnTx/>
                  <a:uFillTx/>
                  <a:latin typeface="AvenirNext LT Pro" panose="020B0504020202020204" pitchFamily="34" charset="77"/>
                  <a:ea typeface="+mn-ea"/>
                  <a:cs typeface="Arial" panose="020B0604020202020204" pitchFamily="34" charset="0"/>
                </a:rPr>
                <a:t>Elektrifisering av maritim sektor</a:t>
              </a:r>
            </a:p>
          </p:txBody>
        </p:sp>
        <p:grpSp>
          <p:nvGrpSpPr>
            <p:cNvPr id="31" name="Gruppe 30">
              <a:extLst>
                <a:ext uri="{FF2B5EF4-FFF2-40B4-BE49-F238E27FC236}">
                  <a16:creationId xmlns:a16="http://schemas.microsoft.com/office/drawing/2014/main" id="{C5738F48-200A-D747-9FE7-B3957FFA0039}"/>
                </a:ext>
              </a:extLst>
            </p:cNvPr>
            <p:cNvGrpSpPr/>
            <p:nvPr/>
          </p:nvGrpSpPr>
          <p:grpSpPr>
            <a:xfrm>
              <a:off x="453031" y="4060227"/>
              <a:ext cx="403592" cy="403591"/>
              <a:chOff x="4480281" y="2863253"/>
              <a:chExt cx="448122" cy="448121"/>
            </a:xfrm>
          </p:grpSpPr>
          <p:sp>
            <p:nvSpPr>
              <p:cNvPr id="32" name="Oval 66">
                <a:extLst>
                  <a:ext uri="{FF2B5EF4-FFF2-40B4-BE49-F238E27FC236}">
                    <a16:creationId xmlns:a16="http://schemas.microsoft.com/office/drawing/2014/main" id="{F7BA86B5-67A5-9546-83BC-F8162A397B97}"/>
                  </a:ext>
                </a:extLst>
              </p:cNvPr>
              <p:cNvSpPr/>
              <p:nvPr/>
            </p:nvSpPr>
            <p:spPr>
              <a:xfrm>
                <a:off x="4480281" y="2863253"/>
                <a:ext cx="448122" cy="448121"/>
              </a:xfrm>
              <a:prstGeom prst="ellipse">
                <a:avLst/>
              </a:prstGeom>
              <a:solidFill>
                <a:srgbClr val="1C5F45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68559" tIns="0" rIns="68559" bIns="3428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685577" rtl="0" eaLnBrk="1" fontAlgn="auto" latinLnBrk="0" hangingPunct="1">
                  <a:lnSpc>
                    <a:spcPct val="100000"/>
                  </a:lnSpc>
                  <a:spcBef>
                    <a:spcPts val="225"/>
                  </a:spcBef>
                  <a:spcAft>
                    <a:spcPts val="225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Next LT Pro" panose="020B0504020202020204" pitchFamily="34" charset="77"/>
                  <a:ea typeface="+mn-ea"/>
                  <a:cs typeface="+mn-cs"/>
                </a:endParaRPr>
              </a:p>
            </p:txBody>
          </p:sp>
          <p:pic>
            <p:nvPicPr>
              <p:cNvPr id="33" name="Bilde 32">
                <a:extLst>
                  <a:ext uri="{FF2B5EF4-FFF2-40B4-BE49-F238E27FC236}">
                    <a16:creationId xmlns:a16="http://schemas.microsoft.com/office/drawing/2014/main" id="{550D8581-1144-A24B-B01C-5284F5130CA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4550581" y="2970038"/>
                <a:ext cx="307522" cy="234551"/>
              </a:xfrm>
              <a:prstGeom prst="rect">
                <a:avLst/>
              </a:prstGeom>
            </p:spPr>
          </p:pic>
        </p:grpSp>
      </p:grpSp>
      <p:cxnSp>
        <p:nvCxnSpPr>
          <p:cNvPr id="2" name="Straight Connector 58">
            <a:extLst>
              <a:ext uri="{FF2B5EF4-FFF2-40B4-BE49-F238E27FC236}">
                <a16:creationId xmlns:a16="http://schemas.microsoft.com/office/drawing/2014/main" id="{F29D578B-7B0D-B84B-8674-F751ADDFD527}"/>
              </a:ext>
            </a:extLst>
          </p:cNvPr>
          <p:cNvCxnSpPr>
            <a:cxnSpLocks/>
          </p:cNvCxnSpPr>
          <p:nvPr/>
        </p:nvCxnSpPr>
        <p:spPr>
          <a:xfrm>
            <a:off x="453030" y="4524582"/>
            <a:ext cx="3600000" cy="2"/>
          </a:xfrm>
          <a:prstGeom prst="line">
            <a:avLst/>
          </a:prstGeom>
          <a:ln w="6350">
            <a:solidFill>
              <a:srgbClr val="1C5E4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18">
            <a:extLst>
              <a:ext uri="{FF2B5EF4-FFF2-40B4-BE49-F238E27FC236}">
                <a16:creationId xmlns:a16="http://schemas.microsoft.com/office/drawing/2014/main" id="{6B53A749-43AE-E14B-95BE-7EC2BD447DEC}"/>
              </a:ext>
            </a:extLst>
          </p:cNvPr>
          <p:cNvSpPr txBox="1"/>
          <p:nvPr/>
        </p:nvSpPr>
        <p:spPr>
          <a:xfrm>
            <a:off x="943230" y="1715445"/>
            <a:ext cx="2958855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685577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nb-NO" sz="1200" b="1" i="0" u="none" strike="noStrike" kern="1200" cap="none" spc="0" normalizeH="0" baseline="0" noProof="0" dirty="0">
                <a:ln>
                  <a:noFill/>
                </a:ln>
                <a:solidFill>
                  <a:srgbClr val="1C5E45"/>
                </a:solidFill>
                <a:effectLst/>
                <a:uLnTx/>
                <a:uFillTx/>
                <a:latin typeface="AvenirNext LT Pro" panose="020B0504020202020204" pitchFamily="34" charset="77"/>
                <a:ea typeface="+mn-ea"/>
                <a:cs typeface="Arial" panose="020B0604020202020204" pitchFamily="34" charset="0"/>
              </a:rPr>
              <a:t>Verdikjede for batterier</a:t>
            </a:r>
          </a:p>
        </p:txBody>
      </p:sp>
      <p:cxnSp>
        <p:nvCxnSpPr>
          <p:cNvPr id="7" name="Straight Connector 64">
            <a:extLst>
              <a:ext uri="{FF2B5EF4-FFF2-40B4-BE49-F238E27FC236}">
                <a16:creationId xmlns:a16="http://schemas.microsoft.com/office/drawing/2014/main" id="{68724441-4D66-FD4E-8DDB-24864D4D3E4E}"/>
              </a:ext>
            </a:extLst>
          </p:cNvPr>
          <p:cNvCxnSpPr>
            <a:cxnSpLocks/>
          </p:cNvCxnSpPr>
          <p:nvPr/>
        </p:nvCxnSpPr>
        <p:spPr>
          <a:xfrm flipV="1">
            <a:off x="4296000" y="2073761"/>
            <a:ext cx="3600000" cy="5492"/>
          </a:xfrm>
          <a:prstGeom prst="line">
            <a:avLst/>
          </a:prstGeom>
          <a:ln w="6350">
            <a:solidFill>
              <a:srgbClr val="1C5E4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65">
            <a:extLst>
              <a:ext uri="{FF2B5EF4-FFF2-40B4-BE49-F238E27FC236}">
                <a16:creationId xmlns:a16="http://schemas.microsoft.com/office/drawing/2014/main" id="{37E77496-09C9-6A42-AE6A-20A66717E4AD}"/>
              </a:ext>
            </a:extLst>
          </p:cNvPr>
          <p:cNvCxnSpPr>
            <a:cxnSpLocks/>
          </p:cNvCxnSpPr>
          <p:nvPr/>
        </p:nvCxnSpPr>
        <p:spPr>
          <a:xfrm>
            <a:off x="8138969" y="2073761"/>
            <a:ext cx="3600000" cy="2"/>
          </a:xfrm>
          <a:prstGeom prst="line">
            <a:avLst/>
          </a:prstGeom>
          <a:ln w="6350">
            <a:solidFill>
              <a:srgbClr val="1C5E4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73">
            <a:extLst>
              <a:ext uri="{FF2B5EF4-FFF2-40B4-BE49-F238E27FC236}">
                <a16:creationId xmlns:a16="http://schemas.microsoft.com/office/drawing/2014/main" id="{CCEB4065-2CDE-A142-8E7D-988A671B60F4}"/>
              </a:ext>
            </a:extLst>
          </p:cNvPr>
          <p:cNvCxnSpPr>
            <a:cxnSpLocks/>
          </p:cNvCxnSpPr>
          <p:nvPr/>
        </p:nvCxnSpPr>
        <p:spPr>
          <a:xfrm>
            <a:off x="8138968" y="4524582"/>
            <a:ext cx="3600000" cy="2"/>
          </a:xfrm>
          <a:prstGeom prst="line">
            <a:avLst/>
          </a:prstGeom>
          <a:ln w="6350">
            <a:solidFill>
              <a:srgbClr val="1C5E4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59">
            <a:extLst>
              <a:ext uri="{FF2B5EF4-FFF2-40B4-BE49-F238E27FC236}">
                <a16:creationId xmlns:a16="http://schemas.microsoft.com/office/drawing/2014/main" id="{B6769049-5FBD-9A40-9A3B-F563377C644B}"/>
              </a:ext>
            </a:extLst>
          </p:cNvPr>
          <p:cNvCxnSpPr>
            <a:cxnSpLocks/>
          </p:cNvCxnSpPr>
          <p:nvPr/>
        </p:nvCxnSpPr>
        <p:spPr>
          <a:xfrm>
            <a:off x="4374811" y="4524582"/>
            <a:ext cx="3600000" cy="2"/>
          </a:xfrm>
          <a:prstGeom prst="line">
            <a:avLst/>
          </a:prstGeom>
          <a:ln w="6350">
            <a:solidFill>
              <a:srgbClr val="1C5E4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5" name="Gruppe 24">
            <a:extLst>
              <a:ext uri="{FF2B5EF4-FFF2-40B4-BE49-F238E27FC236}">
                <a16:creationId xmlns:a16="http://schemas.microsoft.com/office/drawing/2014/main" id="{0CE4258B-67F7-A144-94E0-9ADA2042A359}"/>
              </a:ext>
            </a:extLst>
          </p:cNvPr>
          <p:cNvGrpSpPr/>
          <p:nvPr/>
        </p:nvGrpSpPr>
        <p:grpSpPr>
          <a:xfrm>
            <a:off x="453031" y="1605983"/>
            <a:ext cx="403592" cy="403591"/>
            <a:chOff x="1494698" y="-23469"/>
            <a:chExt cx="448122" cy="448121"/>
          </a:xfrm>
        </p:grpSpPr>
        <p:sp>
          <p:nvSpPr>
            <p:cNvPr id="26" name="Oval 49">
              <a:extLst>
                <a:ext uri="{FF2B5EF4-FFF2-40B4-BE49-F238E27FC236}">
                  <a16:creationId xmlns:a16="http://schemas.microsoft.com/office/drawing/2014/main" id="{00DC1243-673B-1744-8F3A-6D74ED9EDBB1}"/>
                </a:ext>
              </a:extLst>
            </p:cNvPr>
            <p:cNvSpPr/>
            <p:nvPr/>
          </p:nvSpPr>
          <p:spPr>
            <a:xfrm>
              <a:off x="1494698" y="-23469"/>
              <a:ext cx="448122" cy="448121"/>
            </a:xfrm>
            <a:prstGeom prst="ellipse">
              <a:avLst/>
            </a:prstGeom>
            <a:solidFill>
              <a:srgbClr val="1C5F4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68559" tIns="0" rIns="68559" bIns="3428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685577" rtl="0" eaLnBrk="1" fontAlgn="auto" latinLnBrk="0" hangingPunct="1">
                <a:lnSpc>
                  <a:spcPct val="100000"/>
                </a:lnSpc>
                <a:spcBef>
                  <a:spcPts val="225"/>
                </a:spcBef>
                <a:spcAft>
                  <a:spcPts val="225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27" name="Bilde 26">
              <a:extLst>
                <a:ext uri="{FF2B5EF4-FFF2-40B4-BE49-F238E27FC236}">
                  <a16:creationId xmlns:a16="http://schemas.microsoft.com/office/drawing/2014/main" id="{FB70F591-F69D-E046-972B-B12AE56C78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 rot="5400000">
              <a:off x="1570423" y="123614"/>
              <a:ext cx="296673" cy="153955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40F05C2-717D-4EC5-94B1-1D497378E09C}"/>
              </a:ext>
            </a:extLst>
          </p:cNvPr>
          <p:cNvGrpSpPr/>
          <p:nvPr/>
        </p:nvGrpSpPr>
        <p:grpSpPr>
          <a:xfrm>
            <a:off x="8138968" y="1605983"/>
            <a:ext cx="3449054" cy="403591"/>
            <a:chOff x="4296000" y="1605983"/>
            <a:chExt cx="3449054" cy="403591"/>
          </a:xfrm>
        </p:grpSpPr>
        <p:sp>
          <p:nvSpPr>
            <p:cNvPr id="8" name="TextBox 26">
              <a:extLst>
                <a:ext uri="{FF2B5EF4-FFF2-40B4-BE49-F238E27FC236}">
                  <a16:creationId xmlns:a16="http://schemas.microsoft.com/office/drawing/2014/main" id="{83A7DEA9-350C-2142-85C4-2A117E1B76BB}"/>
                </a:ext>
              </a:extLst>
            </p:cNvPr>
            <p:cNvSpPr txBox="1"/>
            <p:nvPr/>
          </p:nvSpPr>
          <p:spPr>
            <a:xfrm>
              <a:off x="4786199" y="1715445"/>
              <a:ext cx="2958855" cy="184666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685577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C5E45"/>
                  </a:solidFill>
                  <a:effectLst/>
                  <a:uLnTx/>
                  <a:uFillTx/>
                  <a:latin typeface="AvenirNext LT Pro" panose="020B0504020202020204" pitchFamily="34" charset="77"/>
                  <a:ea typeface="+mn-ea"/>
                  <a:cs typeface="Arial" panose="020B0604020202020204" pitchFamily="34" charset="0"/>
                </a:rPr>
                <a:t>Hydrogen</a:t>
              </a:r>
            </a:p>
          </p:txBody>
        </p:sp>
        <p:grpSp>
          <p:nvGrpSpPr>
            <p:cNvPr id="34" name="Gruppe 33">
              <a:extLst>
                <a:ext uri="{FF2B5EF4-FFF2-40B4-BE49-F238E27FC236}">
                  <a16:creationId xmlns:a16="http://schemas.microsoft.com/office/drawing/2014/main" id="{9431258A-3521-214A-A924-69D30B873C9C}"/>
                </a:ext>
              </a:extLst>
            </p:cNvPr>
            <p:cNvGrpSpPr/>
            <p:nvPr/>
          </p:nvGrpSpPr>
          <p:grpSpPr>
            <a:xfrm>
              <a:off x="4296000" y="1605983"/>
              <a:ext cx="403592" cy="403591"/>
              <a:chOff x="4453276" y="-18626"/>
              <a:chExt cx="448122" cy="448121"/>
            </a:xfrm>
          </p:grpSpPr>
          <p:sp>
            <p:nvSpPr>
              <p:cNvPr id="35" name="Oval 52">
                <a:extLst>
                  <a:ext uri="{FF2B5EF4-FFF2-40B4-BE49-F238E27FC236}">
                    <a16:creationId xmlns:a16="http://schemas.microsoft.com/office/drawing/2014/main" id="{D5DD1DF2-2822-C64C-AAAE-A01282AD82E3}"/>
                  </a:ext>
                </a:extLst>
              </p:cNvPr>
              <p:cNvSpPr/>
              <p:nvPr/>
            </p:nvSpPr>
            <p:spPr>
              <a:xfrm>
                <a:off x="4453276" y="-18626"/>
                <a:ext cx="448122" cy="448121"/>
              </a:xfrm>
              <a:prstGeom prst="ellipse">
                <a:avLst/>
              </a:prstGeom>
              <a:solidFill>
                <a:srgbClr val="1C5F45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68559" tIns="0" rIns="68559" bIns="3428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685577" rtl="0" eaLnBrk="1" fontAlgn="auto" latinLnBrk="0" hangingPunct="1">
                  <a:lnSpc>
                    <a:spcPct val="100000"/>
                  </a:lnSpc>
                  <a:spcBef>
                    <a:spcPts val="225"/>
                  </a:spcBef>
                  <a:spcAft>
                    <a:spcPts val="225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pic>
            <p:nvPicPr>
              <p:cNvPr id="36" name="Bilde 35">
                <a:extLst>
                  <a:ext uri="{FF2B5EF4-FFF2-40B4-BE49-F238E27FC236}">
                    <a16:creationId xmlns:a16="http://schemas.microsoft.com/office/drawing/2014/main" id="{805E8039-F1BA-0A44-941D-1F155008EEE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4535160" y="55951"/>
                <a:ext cx="284355" cy="298966"/>
              </a:xfrm>
              <a:prstGeom prst="rect">
                <a:avLst/>
              </a:prstGeom>
            </p:spPr>
          </p:pic>
        </p:grp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C498D55-1F09-4407-B287-7114BFB6FA27}"/>
              </a:ext>
            </a:extLst>
          </p:cNvPr>
          <p:cNvGrpSpPr/>
          <p:nvPr/>
        </p:nvGrpSpPr>
        <p:grpSpPr>
          <a:xfrm>
            <a:off x="453031" y="4042391"/>
            <a:ext cx="3449054" cy="424390"/>
            <a:chOff x="8138969" y="4057263"/>
            <a:chExt cx="3449054" cy="424390"/>
          </a:xfrm>
        </p:grpSpPr>
        <p:sp>
          <p:nvSpPr>
            <p:cNvPr id="14" name="TextBox 14">
              <a:extLst>
                <a:ext uri="{FF2B5EF4-FFF2-40B4-BE49-F238E27FC236}">
                  <a16:creationId xmlns:a16="http://schemas.microsoft.com/office/drawing/2014/main" id="{AE245726-4EAB-BF41-90DD-5E5383CD554D}"/>
                </a:ext>
              </a:extLst>
            </p:cNvPr>
            <p:cNvSpPr txBox="1"/>
            <p:nvPr/>
          </p:nvSpPr>
          <p:spPr>
            <a:xfrm>
              <a:off x="8629168" y="4112065"/>
              <a:ext cx="2958855" cy="369588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lvl="0" indent="0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Font typeface="Segoe UI" panose="020B0502040204020203" pitchFamily="34" charset="0"/>
                <a:buChar char="​"/>
                <a:defRPr sz="1600">
                  <a:cs typeface="Arial" panose="020B0604020202020204" pitchFamily="34" charset="0"/>
                </a:defRPr>
              </a:lvl1pPr>
              <a:lvl2pPr marL="228600" lvl="1" indent="-2254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Wingdings" panose="05000000000000000000" pitchFamily="2" charset="2"/>
                <a:buChar char=""/>
                <a:defRPr sz="1600">
                  <a:cs typeface="Arial" panose="020B0604020202020204" pitchFamily="34" charset="0"/>
                </a:defRPr>
              </a:lvl2pPr>
              <a:lvl3pPr marL="515938" lvl="2" indent="-287338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—"/>
                <a:defRPr sz="1600">
                  <a:cs typeface="Arial" panose="020B0604020202020204" pitchFamily="34" charset="0"/>
                </a:defRPr>
              </a:lvl3pPr>
              <a:lvl4pPr marL="742950" lvl="3" indent="-182563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Arial" panose="020B0604020202020204" pitchFamily="34" charset="0"/>
                <a:buChar char="»"/>
                <a:defRPr sz="1600">
                  <a:cs typeface="Arial" panose="020B0604020202020204" pitchFamily="34" charset="0"/>
                </a:defRPr>
              </a:lvl4pPr>
              <a:lvl5pPr marL="914400" lvl="4" indent="-136525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›"/>
                <a:defRPr sz="1600">
                  <a:cs typeface="Arial" panose="020B0604020202020204" pitchFamily="34" charset="0"/>
                </a:defRPr>
              </a:lvl5pPr>
              <a:lvl6pPr marL="1085850" lvl="5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6pPr>
              <a:lvl7pPr marL="1085850" lvl="6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7pPr>
              <a:lvl8pPr marL="1085850" lvl="7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8pPr>
              <a:lvl9pPr marL="1085850" lvl="8" indent="-171450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SzPct val="100000"/>
                <a:buFont typeface="Arial" panose="020B0604020202020204" pitchFamily="34" charset="0"/>
                <a:buChar char="▫"/>
                <a:defRPr sz="1600"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685577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nb-NO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C5E45"/>
                  </a:solidFill>
                  <a:effectLst/>
                  <a:uLnTx/>
                  <a:uFillTx/>
                  <a:latin typeface="AvenirNext LT Pro" panose="020B0504020202020204" pitchFamily="34" charset="77"/>
                  <a:ea typeface="+mn-ea"/>
                  <a:cs typeface="Arial" panose="020B0604020202020204" pitchFamily="34" charset="0"/>
                </a:rPr>
                <a:t>Systemoptimalisering og </a:t>
              </a:r>
            </a:p>
            <a:p>
              <a:pPr marL="0" marR="0" lvl="0" indent="0" algn="l" defTabSz="685577" rtl="0" eaLnBrk="1" fontAlgn="auto" latinLnBrk="0" hangingPunct="1">
                <a:lnSpc>
                  <a:spcPts val="7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 typeface="Segoe UI" panose="020B0502040204020203" pitchFamily="34" charset="0"/>
                <a:buChar char="​"/>
                <a:tabLst/>
                <a:defRPr/>
              </a:pPr>
              <a:r>
                <a:rPr kumimoji="0" lang="nb-NO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1C5E45"/>
                  </a:solidFill>
                  <a:effectLst/>
                  <a:uLnTx/>
                  <a:uFillTx/>
                  <a:latin typeface="AvenirNext LT Pro" panose="020B0504020202020204" pitchFamily="34" charset="77"/>
                  <a:ea typeface="+mn-ea"/>
                  <a:cs typeface="Arial" panose="020B0604020202020204" pitchFamily="34" charset="0"/>
                </a:rPr>
                <a:t>smart lading </a:t>
              </a:r>
            </a:p>
          </p:txBody>
        </p:sp>
        <p:grpSp>
          <p:nvGrpSpPr>
            <p:cNvPr id="40" name="Gruppe 39">
              <a:extLst>
                <a:ext uri="{FF2B5EF4-FFF2-40B4-BE49-F238E27FC236}">
                  <a16:creationId xmlns:a16="http://schemas.microsoft.com/office/drawing/2014/main" id="{797FA185-DDD6-2446-8510-029E8995D2AA}"/>
                </a:ext>
              </a:extLst>
            </p:cNvPr>
            <p:cNvGrpSpPr/>
            <p:nvPr/>
          </p:nvGrpSpPr>
          <p:grpSpPr>
            <a:xfrm>
              <a:off x="8138969" y="4057263"/>
              <a:ext cx="403592" cy="409518"/>
              <a:chOff x="4454883" y="6425735"/>
              <a:chExt cx="448122" cy="454702"/>
            </a:xfrm>
          </p:grpSpPr>
          <p:sp>
            <p:nvSpPr>
              <p:cNvPr id="41" name="Oval 76">
                <a:extLst>
                  <a:ext uri="{FF2B5EF4-FFF2-40B4-BE49-F238E27FC236}">
                    <a16:creationId xmlns:a16="http://schemas.microsoft.com/office/drawing/2014/main" id="{FEA12912-3703-4343-AAA7-9B7B960A45A7}"/>
                  </a:ext>
                </a:extLst>
              </p:cNvPr>
              <p:cNvSpPr/>
              <p:nvPr/>
            </p:nvSpPr>
            <p:spPr>
              <a:xfrm>
                <a:off x="4454883" y="6425735"/>
                <a:ext cx="448122" cy="454702"/>
              </a:xfrm>
              <a:prstGeom prst="ellipse">
                <a:avLst/>
              </a:prstGeom>
              <a:solidFill>
                <a:srgbClr val="1C5F45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68559" tIns="0" rIns="68559" bIns="3428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685577" rtl="0" eaLnBrk="1" fontAlgn="auto" latinLnBrk="0" hangingPunct="1">
                  <a:lnSpc>
                    <a:spcPct val="100000"/>
                  </a:lnSpc>
                  <a:spcBef>
                    <a:spcPts val="225"/>
                  </a:spcBef>
                  <a:spcAft>
                    <a:spcPts val="225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venirNext LT Pro" panose="020B0504020202020204" pitchFamily="34" charset="77"/>
                  <a:ea typeface="+mn-ea"/>
                  <a:cs typeface="+mn-cs"/>
                </a:endParaRPr>
              </a:p>
            </p:txBody>
          </p:sp>
          <p:pic>
            <p:nvPicPr>
              <p:cNvPr id="42" name="Bilde 41">
                <a:extLst>
                  <a:ext uri="{FF2B5EF4-FFF2-40B4-BE49-F238E27FC236}">
                    <a16:creationId xmlns:a16="http://schemas.microsoft.com/office/drawing/2014/main" id="{1D6E7F94-02DE-764B-BC25-B062725AE6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4555306" y="6495975"/>
                <a:ext cx="247276" cy="314223"/>
              </a:xfrm>
              <a:prstGeom prst="rect">
                <a:avLst/>
              </a:prstGeom>
            </p:spPr>
          </p:pic>
        </p:grpSp>
      </p:grpSp>
      <p:cxnSp>
        <p:nvCxnSpPr>
          <p:cNvPr id="43" name="Straight Connector 64">
            <a:extLst>
              <a:ext uri="{FF2B5EF4-FFF2-40B4-BE49-F238E27FC236}">
                <a16:creationId xmlns:a16="http://schemas.microsoft.com/office/drawing/2014/main" id="{7436CE73-E128-4649-8F9A-996FD702CF1B}"/>
              </a:ext>
            </a:extLst>
          </p:cNvPr>
          <p:cNvCxnSpPr>
            <a:cxnSpLocks/>
          </p:cNvCxnSpPr>
          <p:nvPr/>
        </p:nvCxnSpPr>
        <p:spPr>
          <a:xfrm>
            <a:off x="453031" y="2079253"/>
            <a:ext cx="3600000" cy="0"/>
          </a:xfrm>
          <a:prstGeom prst="line">
            <a:avLst/>
          </a:prstGeom>
          <a:ln w="6350">
            <a:solidFill>
              <a:srgbClr val="1C5E4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itle 43">
            <a:extLst>
              <a:ext uri="{FF2B5EF4-FFF2-40B4-BE49-F238E27FC236}">
                <a16:creationId xmlns:a16="http://schemas.microsoft.com/office/drawing/2014/main" id="{044117D6-2BBF-4EDC-87C6-02555692A4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3031" y="487448"/>
            <a:ext cx="11285938" cy="939393"/>
          </a:xfrm>
        </p:spPr>
        <p:txBody>
          <a:bodyPr/>
          <a:lstStyle/>
          <a:p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</a:rPr>
              <a:t>Hvor har Norge konkurransefortrinn?</a:t>
            </a:r>
            <a:br>
              <a:rPr lang="nb-NO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b-NO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678718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69AE4D23-98C7-FE47-82EB-17DD396E71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-10884" y="0"/>
            <a:ext cx="12202883" cy="6865741"/>
          </a:xfrm>
          <a:prstGeom prst="rect">
            <a:avLst/>
          </a:prstGeom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B2E58D48-EEAC-B746-BD07-FAC3DBE1A9E3}"/>
              </a:ext>
            </a:extLst>
          </p:cNvPr>
          <p:cNvSpPr txBox="1"/>
          <p:nvPr/>
        </p:nvSpPr>
        <p:spPr>
          <a:xfrm>
            <a:off x="945934" y="377477"/>
            <a:ext cx="4793843" cy="57861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3000"/>
              </a:spcAft>
            </a:pPr>
            <a:r>
              <a:rPr lang="nb-NO" sz="3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ort kraftoverskudd</a:t>
            </a:r>
            <a:br>
              <a:rPr lang="nb-NO" sz="3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b-NO" sz="3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vår region</a:t>
            </a:r>
          </a:p>
          <a:p>
            <a:pPr>
              <a:spcAft>
                <a:spcPts val="3000"/>
              </a:spcAft>
            </a:pPr>
            <a:r>
              <a:rPr lang="nb-NO" sz="3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 godt utbygd</a:t>
            </a:r>
            <a:br>
              <a:rPr lang="nb-NO" sz="3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b-NO" sz="3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ømnett</a:t>
            </a:r>
          </a:p>
          <a:p>
            <a:pPr>
              <a:spcAft>
                <a:spcPts val="3000"/>
              </a:spcAft>
            </a:pPr>
            <a:r>
              <a:rPr lang="nb-NO" sz="3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ærhet til Europa</a:t>
            </a:r>
          </a:p>
          <a:p>
            <a:pPr>
              <a:spcAft>
                <a:spcPts val="3000"/>
              </a:spcAft>
            </a:pPr>
            <a:r>
              <a:rPr lang="nb-NO" sz="3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lgang til nødvendige</a:t>
            </a:r>
            <a:br>
              <a:rPr lang="nb-NO" sz="3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b-NO" sz="3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åmaterialer</a:t>
            </a:r>
          </a:p>
          <a:p>
            <a:pPr>
              <a:spcAft>
                <a:spcPts val="3000"/>
              </a:spcAft>
            </a:pPr>
            <a:r>
              <a:rPr lang="nb-NO" sz="3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 stor</a:t>
            </a:r>
            <a:br>
              <a:rPr lang="nb-NO" sz="3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b-NO" sz="3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sessindustri</a:t>
            </a:r>
          </a:p>
        </p:txBody>
      </p:sp>
      <p:grpSp>
        <p:nvGrpSpPr>
          <p:cNvPr id="3" name="Grafikk 4">
            <a:extLst>
              <a:ext uri="{FF2B5EF4-FFF2-40B4-BE49-F238E27FC236}">
                <a16:creationId xmlns:a16="http://schemas.microsoft.com/office/drawing/2014/main" id="{3550B7DD-EA4E-8248-8E80-3745ECE361E2}"/>
              </a:ext>
            </a:extLst>
          </p:cNvPr>
          <p:cNvGrpSpPr/>
          <p:nvPr/>
        </p:nvGrpSpPr>
        <p:grpSpPr>
          <a:xfrm>
            <a:off x="274772" y="671256"/>
            <a:ext cx="462667" cy="520991"/>
            <a:chOff x="196745" y="1774840"/>
            <a:chExt cx="416341" cy="468825"/>
          </a:xfrm>
          <a:solidFill>
            <a:schemeClr val="bg1"/>
          </a:solidFill>
        </p:grpSpPr>
        <p:sp>
          <p:nvSpPr>
            <p:cNvPr id="6" name="Friform 5">
              <a:extLst>
                <a:ext uri="{FF2B5EF4-FFF2-40B4-BE49-F238E27FC236}">
                  <a16:creationId xmlns:a16="http://schemas.microsoft.com/office/drawing/2014/main" id="{4336D6EC-7C62-E348-ABDB-E8D928660323}"/>
                </a:ext>
              </a:extLst>
            </p:cNvPr>
            <p:cNvSpPr/>
            <p:nvPr/>
          </p:nvSpPr>
          <p:spPr>
            <a:xfrm>
              <a:off x="317135" y="1845158"/>
              <a:ext cx="295951" cy="398507"/>
            </a:xfrm>
            <a:custGeom>
              <a:avLst/>
              <a:gdLst>
                <a:gd name="connsiteX0" fmla="*/ 295548 w 295951"/>
                <a:gd name="connsiteY0" fmla="*/ 165205 h 398507"/>
                <a:gd name="connsiteX1" fmla="*/ 290564 w 295951"/>
                <a:gd name="connsiteY1" fmla="*/ 161825 h 398507"/>
                <a:gd name="connsiteX2" fmla="*/ 160530 w 295951"/>
                <a:gd name="connsiteY2" fmla="*/ 161825 h 398507"/>
                <a:gd name="connsiteX3" fmla="*/ 238007 w 295951"/>
                <a:gd name="connsiteY3" fmla="*/ 7904 h 398507"/>
                <a:gd name="connsiteX4" fmla="*/ 236376 w 295951"/>
                <a:gd name="connsiteY4" fmla="*/ 1053 h 398507"/>
                <a:gd name="connsiteX5" fmla="*/ 229399 w 295951"/>
                <a:gd name="connsiteY5" fmla="*/ 1601 h 398507"/>
                <a:gd name="connsiteX6" fmla="*/ 1680 w 295951"/>
                <a:gd name="connsiteY6" fmla="*/ 225403 h 398507"/>
                <a:gd name="connsiteX7" fmla="*/ 412 w 295951"/>
                <a:gd name="connsiteY7" fmla="*/ 231341 h 398507"/>
                <a:gd name="connsiteX8" fmla="*/ 5396 w 295951"/>
                <a:gd name="connsiteY8" fmla="*/ 234721 h 398507"/>
                <a:gd name="connsiteX9" fmla="*/ 123196 w 295951"/>
                <a:gd name="connsiteY9" fmla="*/ 234721 h 398507"/>
                <a:gd name="connsiteX10" fmla="*/ 65202 w 295951"/>
                <a:gd name="connsiteY10" fmla="*/ 391200 h 398507"/>
                <a:gd name="connsiteX11" fmla="*/ 67286 w 295951"/>
                <a:gd name="connsiteY11" fmla="*/ 397685 h 398507"/>
                <a:gd name="connsiteX12" fmla="*/ 70186 w 295951"/>
                <a:gd name="connsiteY12" fmla="*/ 398508 h 398507"/>
                <a:gd name="connsiteX13" fmla="*/ 74083 w 295951"/>
                <a:gd name="connsiteY13" fmla="*/ 396863 h 398507"/>
                <a:gd name="connsiteX14" fmla="*/ 294370 w 295951"/>
                <a:gd name="connsiteY14" fmla="*/ 171143 h 398507"/>
                <a:gd name="connsiteX15" fmla="*/ 295548 w 295951"/>
                <a:gd name="connsiteY15" fmla="*/ 165205 h 398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95951" h="398507">
                  <a:moveTo>
                    <a:pt x="295548" y="165205"/>
                  </a:moveTo>
                  <a:cubicBezTo>
                    <a:pt x="294692" y="163187"/>
                    <a:pt x="292741" y="161865"/>
                    <a:pt x="290564" y="161825"/>
                  </a:cubicBezTo>
                  <a:lnTo>
                    <a:pt x="160530" y="161825"/>
                  </a:lnTo>
                  <a:lnTo>
                    <a:pt x="238007" y="7904"/>
                  </a:lnTo>
                  <a:cubicBezTo>
                    <a:pt x="239146" y="5520"/>
                    <a:pt x="238465" y="2657"/>
                    <a:pt x="236376" y="1053"/>
                  </a:cubicBezTo>
                  <a:cubicBezTo>
                    <a:pt x="234238" y="-537"/>
                    <a:pt x="231266" y="-304"/>
                    <a:pt x="229399" y="1601"/>
                  </a:cubicBezTo>
                  <a:lnTo>
                    <a:pt x="1680" y="225403"/>
                  </a:lnTo>
                  <a:cubicBezTo>
                    <a:pt x="62" y="226918"/>
                    <a:pt x="-445" y="229289"/>
                    <a:pt x="412" y="231341"/>
                  </a:cubicBezTo>
                  <a:cubicBezTo>
                    <a:pt x="1249" y="233374"/>
                    <a:pt x="3212" y="234705"/>
                    <a:pt x="5396" y="234721"/>
                  </a:cubicBezTo>
                  <a:lnTo>
                    <a:pt x="123196" y="234721"/>
                  </a:lnTo>
                  <a:lnTo>
                    <a:pt x="65202" y="391200"/>
                  </a:lnTo>
                  <a:cubicBezTo>
                    <a:pt x="64316" y="393588"/>
                    <a:pt x="65180" y="396275"/>
                    <a:pt x="67286" y="397685"/>
                  </a:cubicBezTo>
                  <a:cubicBezTo>
                    <a:pt x="68161" y="398221"/>
                    <a:pt x="69163" y="398505"/>
                    <a:pt x="70186" y="398508"/>
                  </a:cubicBezTo>
                  <a:cubicBezTo>
                    <a:pt x="71651" y="398511"/>
                    <a:pt x="73057" y="397918"/>
                    <a:pt x="74083" y="396863"/>
                  </a:cubicBezTo>
                  <a:lnTo>
                    <a:pt x="294370" y="171143"/>
                  </a:lnTo>
                  <a:cubicBezTo>
                    <a:pt x="295910" y="169582"/>
                    <a:pt x="296374" y="167243"/>
                    <a:pt x="295548" y="165205"/>
                  </a:cubicBezTo>
                  <a:close/>
                </a:path>
              </a:pathLst>
            </a:custGeom>
            <a:grpFill/>
            <a:ln w="8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>
                <a:solidFill>
                  <a:schemeClr val="bg1"/>
                </a:solidFill>
              </a:endParaRPr>
            </a:p>
          </p:txBody>
        </p:sp>
        <p:sp>
          <p:nvSpPr>
            <p:cNvPr id="7" name="Friform 6">
              <a:extLst>
                <a:ext uri="{FF2B5EF4-FFF2-40B4-BE49-F238E27FC236}">
                  <a16:creationId xmlns:a16="http://schemas.microsoft.com/office/drawing/2014/main" id="{83311D7A-17AE-7A4E-9DCA-6C252F7CD226}"/>
                </a:ext>
              </a:extLst>
            </p:cNvPr>
            <p:cNvSpPr/>
            <p:nvPr/>
          </p:nvSpPr>
          <p:spPr>
            <a:xfrm>
              <a:off x="196745" y="1774840"/>
              <a:ext cx="179063" cy="241460"/>
            </a:xfrm>
            <a:custGeom>
              <a:avLst/>
              <a:gdLst>
                <a:gd name="connsiteX0" fmla="*/ 178977 w 179063"/>
                <a:gd name="connsiteY0" fmla="*/ 100602 h 241460"/>
                <a:gd name="connsiteX1" fmla="*/ 175986 w 179063"/>
                <a:gd name="connsiteY1" fmla="*/ 98592 h 241460"/>
                <a:gd name="connsiteX2" fmla="*/ 97241 w 179063"/>
                <a:gd name="connsiteY2" fmla="*/ 98592 h 241460"/>
                <a:gd name="connsiteX3" fmla="*/ 144090 w 179063"/>
                <a:gd name="connsiteY3" fmla="*/ 4869 h 241460"/>
                <a:gd name="connsiteX4" fmla="*/ 143093 w 179063"/>
                <a:gd name="connsiteY4" fmla="*/ 759 h 241460"/>
                <a:gd name="connsiteX5" fmla="*/ 138925 w 179063"/>
                <a:gd name="connsiteY5" fmla="*/ 759 h 241460"/>
                <a:gd name="connsiteX6" fmla="*/ 1007 w 179063"/>
                <a:gd name="connsiteY6" fmla="*/ 136593 h 241460"/>
                <a:gd name="connsiteX7" fmla="*/ 282 w 179063"/>
                <a:gd name="connsiteY7" fmla="*/ 140247 h 241460"/>
                <a:gd name="connsiteX8" fmla="*/ 3272 w 179063"/>
                <a:gd name="connsiteY8" fmla="*/ 142256 h 241460"/>
                <a:gd name="connsiteX9" fmla="*/ 74496 w 179063"/>
                <a:gd name="connsiteY9" fmla="*/ 142256 h 241460"/>
                <a:gd name="connsiteX10" fmla="*/ 39337 w 179063"/>
                <a:gd name="connsiteY10" fmla="*/ 236984 h 241460"/>
                <a:gd name="connsiteX11" fmla="*/ 40697 w 179063"/>
                <a:gd name="connsiteY11" fmla="*/ 240912 h 241460"/>
                <a:gd name="connsiteX12" fmla="*/ 42418 w 179063"/>
                <a:gd name="connsiteY12" fmla="*/ 241460 h 241460"/>
                <a:gd name="connsiteX13" fmla="*/ 44774 w 179063"/>
                <a:gd name="connsiteY13" fmla="*/ 240455 h 241460"/>
                <a:gd name="connsiteX14" fmla="*/ 178252 w 179063"/>
                <a:gd name="connsiteY14" fmla="*/ 103434 h 241460"/>
                <a:gd name="connsiteX15" fmla="*/ 178977 w 179063"/>
                <a:gd name="connsiteY15" fmla="*/ 100602 h 2414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79063" h="241460">
                  <a:moveTo>
                    <a:pt x="178977" y="100602"/>
                  </a:moveTo>
                  <a:cubicBezTo>
                    <a:pt x="178469" y="99389"/>
                    <a:pt x="177292" y="98599"/>
                    <a:pt x="175986" y="98592"/>
                  </a:cubicBezTo>
                  <a:lnTo>
                    <a:pt x="97241" y="98592"/>
                  </a:lnTo>
                  <a:lnTo>
                    <a:pt x="144090" y="4869"/>
                  </a:lnTo>
                  <a:cubicBezTo>
                    <a:pt x="144833" y="3442"/>
                    <a:pt x="144406" y="1679"/>
                    <a:pt x="143093" y="759"/>
                  </a:cubicBezTo>
                  <a:cubicBezTo>
                    <a:pt x="141885" y="-253"/>
                    <a:pt x="140132" y="-253"/>
                    <a:pt x="138925" y="759"/>
                  </a:cubicBezTo>
                  <a:lnTo>
                    <a:pt x="1007" y="136593"/>
                  </a:lnTo>
                  <a:cubicBezTo>
                    <a:pt x="13" y="137528"/>
                    <a:pt x="-278" y="138998"/>
                    <a:pt x="282" y="140247"/>
                  </a:cubicBezTo>
                  <a:cubicBezTo>
                    <a:pt x="770" y="141476"/>
                    <a:pt x="1959" y="142276"/>
                    <a:pt x="3272" y="142256"/>
                  </a:cubicBezTo>
                  <a:lnTo>
                    <a:pt x="74496" y="142256"/>
                  </a:lnTo>
                  <a:lnTo>
                    <a:pt x="39337" y="236984"/>
                  </a:lnTo>
                  <a:cubicBezTo>
                    <a:pt x="38768" y="238452"/>
                    <a:pt x="39345" y="240119"/>
                    <a:pt x="40697" y="240912"/>
                  </a:cubicBezTo>
                  <a:cubicBezTo>
                    <a:pt x="41201" y="241269"/>
                    <a:pt x="41802" y="241461"/>
                    <a:pt x="42418" y="241460"/>
                  </a:cubicBezTo>
                  <a:cubicBezTo>
                    <a:pt x="43303" y="241443"/>
                    <a:pt x="44146" y="241083"/>
                    <a:pt x="44774" y="240455"/>
                  </a:cubicBezTo>
                  <a:lnTo>
                    <a:pt x="178252" y="103434"/>
                  </a:lnTo>
                  <a:cubicBezTo>
                    <a:pt x="178947" y="102671"/>
                    <a:pt x="179219" y="101609"/>
                    <a:pt x="178977" y="100602"/>
                  </a:cubicBezTo>
                  <a:close/>
                </a:path>
              </a:pathLst>
            </a:custGeom>
            <a:grpFill/>
            <a:ln w="8904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>
                <a:solidFill>
                  <a:schemeClr val="bg1"/>
                </a:solidFill>
              </a:endParaRPr>
            </a:p>
          </p:txBody>
        </p:sp>
      </p:grpSp>
      <p:sp>
        <p:nvSpPr>
          <p:cNvPr id="9" name="Google Shape;11021;p195">
            <a:extLst>
              <a:ext uri="{FF2B5EF4-FFF2-40B4-BE49-F238E27FC236}">
                <a16:creationId xmlns:a16="http://schemas.microsoft.com/office/drawing/2014/main" id="{A58CC1F8-7D13-1247-87C9-77563C597186}"/>
              </a:ext>
            </a:extLst>
          </p:cNvPr>
          <p:cNvSpPr/>
          <p:nvPr/>
        </p:nvSpPr>
        <p:spPr>
          <a:xfrm>
            <a:off x="231129" y="2984863"/>
            <a:ext cx="549952" cy="504121"/>
          </a:xfrm>
          <a:custGeom>
            <a:avLst/>
            <a:gdLst/>
            <a:ahLst/>
            <a:cxnLst/>
            <a:rect l="l" t="t" r="r" b="b"/>
            <a:pathLst>
              <a:path w="360" h="330" extrusionOk="0">
                <a:moveTo>
                  <a:pt x="358" y="130"/>
                </a:moveTo>
                <a:lnTo>
                  <a:pt x="310" y="80"/>
                </a:lnTo>
                <a:lnTo>
                  <a:pt x="310" y="36"/>
                </a:lnTo>
                <a:lnTo>
                  <a:pt x="310" y="36"/>
                </a:lnTo>
                <a:lnTo>
                  <a:pt x="310" y="34"/>
                </a:lnTo>
                <a:lnTo>
                  <a:pt x="310" y="34"/>
                </a:lnTo>
                <a:lnTo>
                  <a:pt x="310" y="32"/>
                </a:lnTo>
                <a:lnTo>
                  <a:pt x="310" y="32"/>
                </a:lnTo>
                <a:lnTo>
                  <a:pt x="310" y="32"/>
                </a:lnTo>
                <a:lnTo>
                  <a:pt x="310" y="32"/>
                </a:lnTo>
                <a:lnTo>
                  <a:pt x="310" y="32"/>
                </a:lnTo>
                <a:lnTo>
                  <a:pt x="310" y="32"/>
                </a:lnTo>
                <a:lnTo>
                  <a:pt x="308" y="30"/>
                </a:lnTo>
                <a:lnTo>
                  <a:pt x="308" y="30"/>
                </a:lnTo>
                <a:lnTo>
                  <a:pt x="308" y="30"/>
                </a:lnTo>
                <a:lnTo>
                  <a:pt x="308" y="30"/>
                </a:lnTo>
                <a:lnTo>
                  <a:pt x="308" y="28"/>
                </a:lnTo>
                <a:lnTo>
                  <a:pt x="308" y="28"/>
                </a:lnTo>
                <a:lnTo>
                  <a:pt x="306" y="28"/>
                </a:lnTo>
                <a:lnTo>
                  <a:pt x="306" y="28"/>
                </a:lnTo>
                <a:lnTo>
                  <a:pt x="306" y="28"/>
                </a:lnTo>
                <a:lnTo>
                  <a:pt x="274" y="12"/>
                </a:lnTo>
                <a:lnTo>
                  <a:pt x="274" y="12"/>
                </a:lnTo>
                <a:lnTo>
                  <a:pt x="272" y="12"/>
                </a:lnTo>
                <a:lnTo>
                  <a:pt x="268" y="12"/>
                </a:lnTo>
                <a:lnTo>
                  <a:pt x="254" y="20"/>
                </a:lnTo>
                <a:lnTo>
                  <a:pt x="238" y="2"/>
                </a:lnTo>
                <a:lnTo>
                  <a:pt x="238" y="2"/>
                </a:lnTo>
                <a:lnTo>
                  <a:pt x="232" y="0"/>
                </a:lnTo>
                <a:lnTo>
                  <a:pt x="226" y="0"/>
                </a:lnTo>
                <a:lnTo>
                  <a:pt x="114" y="58"/>
                </a:lnTo>
                <a:lnTo>
                  <a:pt x="110" y="58"/>
                </a:lnTo>
                <a:lnTo>
                  <a:pt x="110" y="58"/>
                </a:lnTo>
                <a:lnTo>
                  <a:pt x="110" y="60"/>
                </a:lnTo>
                <a:lnTo>
                  <a:pt x="110" y="60"/>
                </a:lnTo>
                <a:lnTo>
                  <a:pt x="108" y="60"/>
                </a:lnTo>
                <a:lnTo>
                  <a:pt x="108" y="60"/>
                </a:lnTo>
                <a:lnTo>
                  <a:pt x="108" y="60"/>
                </a:lnTo>
                <a:lnTo>
                  <a:pt x="2" y="158"/>
                </a:lnTo>
                <a:lnTo>
                  <a:pt x="2" y="158"/>
                </a:lnTo>
                <a:lnTo>
                  <a:pt x="0" y="164"/>
                </a:lnTo>
                <a:lnTo>
                  <a:pt x="0" y="170"/>
                </a:lnTo>
                <a:lnTo>
                  <a:pt x="0" y="170"/>
                </a:lnTo>
                <a:lnTo>
                  <a:pt x="4" y="174"/>
                </a:lnTo>
                <a:lnTo>
                  <a:pt x="10" y="176"/>
                </a:lnTo>
                <a:lnTo>
                  <a:pt x="10" y="176"/>
                </a:lnTo>
                <a:lnTo>
                  <a:pt x="10" y="176"/>
                </a:lnTo>
                <a:lnTo>
                  <a:pt x="40" y="172"/>
                </a:lnTo>
                <a:lnTo>
                  <a:pt x="40" y="304"/>
                </a:lnTo>
                <a:lnTo>
                  <a:pt x="40" y="304"/>
                </a:lnTo>
                <a:lnTo>
                  <a:pt x="42" y="308"/>
                </a:lnTo>
                <a:lnTo>
                  <a:pt x="44" y="312"/>
                </a:lnTo>
                <a:lnTo>
                  <a:pt x="46" y="314"/>
                </a:lnTo>
                <a:lnTo>
                  <a:pt x="50" y="314"/>
                </a:lnTo>
                <a:lnTo>
                  <a:pt x="220" y="330"/>
                </a:lnTo>
                <a:lnTo>
                  <a:pt x="220" y="330"/>
                </a:lnTo>
                <a:lnTo>
                  <a:pt x="220" y="330"/>
                </a:lnTo>
                <a:lnTo>
                  <a:pt x="220" y="330"/>
                </a:lnTo>
                <a:lnTo>
                  <a:pt x="224" y="330"/>
                </a:lnTo>
                <a:lnTo>
                  <a:pt x="224" y="330"/>
                </a:lnTo>
                <a:lnTo>
                  <a:pt x="224" y="330"/>
                </a:lnTo>
                <a:lnTo>
                  <a:pt x="224" y="330"/>
                </a:lnTo>
                <a:lnTo>
                  <a:pt x="224" y="330"/>
                </a:lnTo>
                <a:lnTo>
                  <a:pt x="322" y="282"/>
                </a:lnTo>
                <a:lnTo>
                  <a:pt x="322" y="282"/>
                </a:lnTo>
                <a:lnTo>
                  <a:pt x="326" y="278"/>
                </a:lnTo>
                <a:lnTo>
                  <a:pt x="326" y="272"/>
                </a:lnTo>
                <a:lnTo>
                  <a:pt x="326" y="160"/>
                </a:lnTo>
                <a:lnTo>
                  <a:pt x="356" y="146"/>
                </a:lnTo>
                <a:lnTo>
                  <a:pt x="356" y="146"/>
                </a:lnTo>
                <a:lnTo>
                  <a:pt x="358" y="142"/>
                </a:lnTo>
                <a:lnTo>
                  <a:pt x="360" y="138"/>
                </a:lnTo>
                <a:lnTo>
                  <a:pt x="360" y="138"/>
                </a:lnTo>
                <a:lnTo>
                  <a:pt x="360" y="134"/>
                </a:lnTo>
                <a:lnTo>
                  <a:pt x="358" y="130"/>
                </a:lnTo>
                <a:lnTo>
                  <a:pt x="358" y="130"/>
                </a:lnTo>
                <a:close/>
                <a:moveTo>
                  <a:pt x="210" y="310"/>
                </a:moveTo>
                <a:lnTo>
                  <a:pt x="150" y="304"/>
                </a:lnTo>
                <a:lnTo>
                  <a:pt x="150" y="208"/>
                </a:lnTo>
                <a:lnTo>
                  <a:pt x="150" y="208"/>
                </a:lnTo>
                <a:lnTo>
                  <a:pt x="148" y="200"/>
                </a:lnTo>
                <a:lnTo>
                  <a:pt x="144" y="192"/>
                </a:lnTo>
                <a:lnTo>
                  <a:pt x="136" y="186"/>
                </a:lnTo>
                <a:lnTo>
                  <a:pt x="128" y="184"/>
                </a:lnTo>
                <a:lnTo>
                  <a:pt x="128" y="184"/>
                </a:lnTo>
                <a:lnTo>
                  <a:pt x="120" y="184"/>
                </a:lnTo>
                <a:lnTo>
                  <a:pt x="112" y="188"/>
                </a:lnTo>
                <a:lnTo>
                  <a:pt x="108" y="196"/>
                </a:lnTo>
                <a:lnTo>
                  <a:pt x="106" y="204"/>
                </a:lnTo>
                <a:lnTo>
                  <a:pt x="106" y="300"/>
                </a:lnTo>
                <a:lnTo>
                  <a:pt x="60" y="296"/>
                </a:lnTo>
                <a:lnTo>
                  <a:pt x="60" y="138"/>
                </a:lnTo>
                <a:lnTo>
                  <a:pt x="118" y="86"/>
                </a:lnTo>
                <a:lnTo>
                  <a:pt x="210" y="182"/>
                </a:lnTo>
                <a:lnTo>
                  <a:pt x="210" y="310"/>
                </a:lnTo>
                <a:close/>
                <a:moveTo>
                  <a:pt x="272" y="28"/>
                </a:moveTo>
                <a:lnTo>
                  <a:pt x="286" y="36"/>
                </a:lnTo>
                <a:lnTo>
                  <a:pt x="264" y="46"/>
                </a:lnTo>
                <a:lnTo>
                  <a:pt x="250" y="40"/>
                </a:lnTo>
                <a:lnTo>
                  <a:pt x="272" y="28"/>
                </a:lnTo>
                <a:close/>
                <a:moveTo>
                  <a:pt x="294" y="48"/>
                </a:moveTo>
                <a:lnTo>
                  <a:pt x="294" y="124"/>
                </a:lnTo>
                <a:lnTo>
                  <a:pt x="272" y="136"/>
                </a:lnTo>
                <a:lnTo>
                  <a:pt x="272" y="60"/>
                </a:lnTo>
                <a:lnTo>
                  <a:pt x="294" y="48"/>
                </a:lnTo>
                <a:close/>
                <a:moveTo>
                  <a:pt x="240" y="52"/>
                </a:moveTo>
                <a:lnTo>
                  <a:pt x="256" y="60"/>
                </a:lnTo>
                <a:lnTo>
                  <a:pt x="256" y="136"/>
                </a:lnTo>
                <a:lnTo>
                  <a:pt x="240" y="128"/>
                </a:lnTo>
                <a:lnTo>
                  <a:pt x="240" y="52"/>
                </a:lnTo>
                <a:close/>
                <a:moveTo>
                  <a:pt x="306" y="266"/>
                </a:moveTo>
                <a:lnTo>
                  <a:pt x="230" y="304"/>
                </a:lnTo>
                <a:lnTo>
                  <a:pt x="230" y="204"/>
                </a:lnTo>
                <a:lnTo>
                  <a:pt x="230" y="204"/>
                </a:lnTo>
                <a:lnTo>
                  <a:pt x="236" y="206"/>
                </a:lnTo>
                <a:lnTo>
                  <a:pt x="236" y="206"/>
                </a:lnTo>
                <a:lnTo>
                  <a:pt x="240" y="204"/>
                </a:lnTo>
                <a:lnTo>
                  <a:pt x="306" y="170"/>
                </a:lnTo>
                <a:lnTo>
                  <a:pt x="306" y="26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15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" name="Grafikk 9">
            <a:extLst>
              <a:ext uri="{FF2B5EF4-FFF2-40B4-BE49-F238E27FC236}">
                <a16:creationId xmlns:a16="http://schemas.microsoft.com/office/drawing/2014/main" id="{43200B8E-3C45-EF4A-A839-0E58D487D635}"/>
              </a:ext>
            </a:extLst>
          </p:cNvPr>
          <p:cNvGrpSpPr/>
          <p:nvPr/>
        </p:nvGrpSpPr>
        <p:grpSpPr>
          <a:xfrm>
            <a:off x="249221" y="4047880"/>
            <a:ext cx="513770" cy="510584"/>
            <a:chOff x="-45469" y="4533866"/>
            <a:chExt cx="462327" cy="459460"/>
          </a:xfrm>
          <a:solidFill>
            <a:schemeClr val="bg1"/>
          </a:solidFill>
        </p:grpSpPr>
        <p:sp>
          <p:nvSpPr>
            <p:cNvPr id="12" name="Friform 11">
              <a:extLst>
                <a:ext uri="{FF2B5EF4-FFF2-40B4-BE49-F238E27FC236}">
                  <a16:creationId xmlns:a16="http://schemas.microsoft.com/office/drawing/2014/main" id="{21ABCBD3-49ED-CE4F-B215-499A5364CBF4}"/>
                </a:ext>
              </a:extLst>
            </p:cNvPr>
            <p:cNvSpPr/>
            <p:nvPr/>
          </p:nvSpPr>
          <p:spPr>
            <a:xfrm>
              <a:off x="186876" y="4533866"/>
              <a:ext cx="165958" cy="327598"/>
            </a:xfrm>
            <a:custGeom>
              <a:avLst/>
              <a:gdLst>
                <a:gd name="connsiteX0" fmla="*/ 44324 w 165958"/>
                <a:gd name="connsiteY0" fmla="*/ 214477 h 327598"/>
                <a:gd name="connsiteX1" fmla="*/ 93547 w 165958"/>
                <a:gd name="connsiteY1" fmla="*/ 252157 h 327598"/>
                <a:gd name="connsiteX2" fmla="*/ 33089 w 165958"/>
                <a:gd name="connsiteY2" fmla="*/ 327598 h 327598"/>
                <a:gd name="connsiteX3" fmla="*/ 69461 w 165958"/>
                <a:gd name="connsiteY3" fmla="*/ 312543 h 327598"/>
                <a:gd name="connsiteX4" fmla="*/ 82716 w 165958"/>
                <a:gd name="connsiteY4" fmla="*/ 306866 h 327598"/>
                <a:gd name="connsiteX5" fmla="*/ 125958 w 165958"/>
                <a:gd name="connsiteY5" fmla="*/ 201479 h 327598"/>
                <a:gd name="connsiteX6" fmla="*/ 85545 w 165958"/>
                <a:gd name="connsiteY6" fmla="*/ 82763 h 327598"/>
                <a:gd name="connsiteX7" fmla="*/ 61297 w 165958"/>
                <a:gd name="connsiteY7" fmla="*/ 55039 h 327598"/>
                <a:gd name="connsiteX8" fmla="*/ 71320 w 165958"/>
                <a:gd name="connsiteY8" fmla="*/ 60139 h 327598"/>
                <a:gd name="connsiteX9" fmla="*/ 138487 w 165958"/>
                <a:gd name="connsiteY9" fmla="*/ 214477 h 327598"/>
                <a:gd name="connsiteX10" fmla="*/ 132748 w 165958"/>
                <a:gd name="connsiteY10" fmla="*/ 240968 h 327598"/>
                <a:gd name="connsiteX11" fmla="*/ 140831 w 165958"/>
                <a:gd name="connsiteY11" fmla="*/ 86795 h 327598"/>
                <a:gd name="connsiteX12" fmla="*/ 61540 w 165958"/>
                <a:gd name="connsiteY12" fmla="*/ 20979 h 327598"/>
                <a:gd name="connsiteX13" fmla="*/ 31876 w 165958"/>
                <a:gd name="connsiteY13" fmla="*/ 4525 h 327598"/>
                <a:gd name="connsiteX14" fmla="*/ 24683 w 165958"/>
                <a:gd name="connsiteY14" fmla="*/ 0 h 327598"/>
                <a:gd name="connsiteX15" fmla="*/ 44324 w 165958"/>
                <a:gd name="connsiteY15" fmla="*/ 214477 h 3275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65958" h="327598">
                  <a:moveTo>
                    <a:pt x="44324" y="214477"/>
                  </a:moveTo>
                  <a:cubicBezTo>
                    <a:pt x="59269" y="228903"/>
                    <a:pt x="75785" y="241544"/>
                    <a:pt x="93547" y="252157"/>
                  </a:cubicBezTo>
                  <a:cubicBezTo>
                    <a:pt x="77652" y="280548"/>
                    <a:pt x="57219" y="306045"/>
                    <a:pt x="33089" y="327598"/>
                  </a:cubicBezTo>
                  <a:cubicBezTo>
                    <a:pt x="45294" y="322662"/>
                    <a:pt x="57337" y="317562"/>
                    <a:pt x="69461" y="312543"/>
                  </a:cubicBezTo>
                  <a:lnTo>
                    <a:pt x="82716" y="306866"/>
                  </a:lnTo>
                  <a:cubicBezTo>
                    <a:pt x="106154" y="276320"/>
                    <a:pt x="121089" y="239919"/>
                    <a:pt x="125958" y="201479"/>
                  </a:cubicBezTo>
                  <a:cubicBezTo>
                    <a:pt x="130808" y="152117"/>
                    <a:pt x="107288" y="110242"/>
                    <a:pt x="85545" y="82763"/>
                  </a:cubicBezTo>
                  <a:cubicBezTo>
                    <a:pt x="78348" y="72757"/>
                    <a:pt x="70229" y="63474"/>
                    <a:pt x="61297" y="55039"/>
                  </a:cubicBezTo>
                  <a:cubicBezTo>
                    <a:pt x="65009" y="55847"/>
                    <a:pt x="68458" y="57602"/>
                    <a:pt x="71320" y="60139"/>
                  </a:cubicBezTo>
                  <a:cubicBezTo>
                    <a:pt x="109308" y="87782"/>
                    <a:pt x="148671" y="143314"/>
                    <a:pt x="138487" y="214477"/>
                  </a:cubicBezTo>
                  <a:cubicBezTo>
                    <a:pt x="137141" y="223425"/>
                    <a:pt x="135224" y="232274"/>
                    <a:pt x="132748" y="240968"/>
                  </a:cubicBezTo>
                  <a:cubicBezTo>
                    <a:pt x="181244" y="194486"/>
                    <a:pt x="170090" y="135498"/>
                    <a:pt x="140831" y="86795"/>
                  </a:cubicBezTo>
                  <a:cubicBezTo>
                    <a:pt x="121755" y="54874"/>
                    <a:pt x="90071" y="25175"/>
                    <a:pt x="61540" y="20979"/>
                  </a:cubicBezTo>
                  <a:cubicBezTo>
                    <a:pt x="49791" y="20080"/>
                    <a:pt x="38987" y="14087"/>
                    <a:pt x="31876" y="4525"/>
                  </a:cubicBezTo>
                  <a:cubicBezTo>
                    <a:pt x="30244" y="2019"/>
                    <a:pt x="27615" y="365"/>
                    <a:pt x="24683" y="0"/>
                  </a:cubicBezTo>
                  <a:cubicBezTo>
                    <a:pt x="-40625" y="141175"/>
                    <a:pt x="44324" y="214477"/>
                    <a:pt x="44324" y="214477"/>
                  </a:cubicBezTo>
                  <a:close/>
                </a:path>
              </a:pathLst>
            </a:custGeom>
            <a:grpFill/>
            <a:ln w="8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3" name="Friform 12">
              <a:extLst>
                <a:ext uri="{FF2B5EF4-FFF2-40B4-BE49-F238E27FC236}">
                  <a16:creationId xmlns:a16="http://schemas.microsoft.com/office/drawing/2014/main" id="{C20CF9C5-8029-AF45-A361-551DB680C907}"/>
                </a:ext>
              </a:extLst>
            </p:cNvPr>
            <p:cNvSpPr/>
            <p:nvPr/>
          </p:nvSpPr>
          <p:spPr>
            <a:xfrm>
              <a:off x="-45469" y="4767809"/>
              <a:ext cx="462327" cy="225517"/>
            </a:xfrm>
            <a:custGeom>
              <a:avLst/>
              <a:gdLst>
                <a:gd name="connsiteX0" fmla="*/ 404537 w 462327"/>
                <a:gd name="connsiteY0" fmla="*/ 55894 h 225517"/>
                <a:gd name="connsiteX1" fmla="*/ 257109 w 462327"/>
                <a:gd name="connsiteY1" fmla="*/ 114223 h 225517"/>
                <a:gd name="connsiteX2" fmla="*/ 173696 w 462327"/>
                <a:gd name="connsiteY2" fmla="*/ 102870 h 225517"/>
                <a:gd name="connsiteX3" fmla="*/ 199722 w 462327"/>
                <a:gd name="connsiteY3" fmla="*/ 67905 h 225517"/>
                <a:gd name="connsiteX4" fmla="*/ 231649 w 462327"/>
                <a:gd name="connsiteY4" fmla="*/ 8013 h 225517"/>
                <a:gd name="connsiteX5" fmla="*/ 184042 w 462327"/>
                <a:gd name="connsiteY5" fmla="*/ 13689 h 225517"/>
                <a:gd name="connsiteX6" fmla="*/ 42353 w 462327"/>
                <a:gd name="connsiteY6" fmla="*/ 84359 h 225517"/>
                <a:gd name="connsiteX7" fmla="*/ 40413 w 462327"/>
                <a:gd name="connsiteY7" fmla="*/ 84359 h 225517"/>
                <a:gd name="connsiteX8" fmla="*/ 0 w 462327"/>
                <a:gd name="connsiteY8" fmla="*/ 135531 h 225517"/>
                <a:gd name="connsiteX9" fmla="*/ 0 w 462327"/>
                <a:gd name="connsiteY9" fmla="*/ 208586 h 225517"/>
                <a:gd name="connsiteX10" fmla="*/ 8083 w 462327"/>
                <a:gd name="connsiteY10" fmla="*/ 218870 h 225517"/>
                <a:gd name="connsiteX11" fmla="*/ 223566 w 462327"/>
                <a:gd name="connsiteY11" fmla="*/ 224547 h 225517"/>
                <a:gd name="connsiteX12" fmla="*/ 262363 w 462327"/>
                <a:gd name="connsiteY12" fmla="*/ 195012 h 225517"/>
                <a:gd name="connsiteX13" fmla="*/ 422803 w 462327"/>
                <a:gd name="connsiteY13" fmla="*/ 95136 h 225517"/>
                <a:gd name="connsiteX14" fmla="*/ 461923 w 462327"/>
                <a:gd name="connsiteY14" fmla="*/ 69715 h 225517"/>
                <a:gd name="connsiteX15" fmla="*/ 404537 w 462327"/>
                <a:gd name="connsiteY15" fmla="*/ 55894 h 2255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62327" h="225517">
                  <a:moveTo>
                    <a:pt x="404537" y="55894"/>
                  </a:moveTo>
                  <a:cubicBezTo>
                    <a:pt x="353778" y="71854"/>
                    <a:pt x="305686" y="95136"/>
                    <a:pt x="257109" y="114223"/>
                  </a:cubicBezTo>
                  <a:cubicBezTo>
                    <a:pt x="230194" y="124671"/>
                    <a:pt x="194630" y="128044"/>
                    <a:pt x="173696" y="102870"/>
                  </a:cubicBezTo>
                  <a:cubicBezTo>
                    <a:pt x="166503" y="88143"/>
                    <a:pt x="167472" y="90529"/>
                    <a:pt x="199722" y="67905"/>
                  </a:cubicBezTo>
                  <a:cubicBezTo>
                    <a:pt x="236337" y="42319"/>
                    <a:pt x="242479" y="21916"/>
                    <a:pt x="231649" y="8013"/>
                  </a:cubicBezTo>
                  <a:cubicBezTo>
                    <a:pt x="220818" y="-5891"/>
                    <a:pt x="202390" y="-214"/>
                    <a:pt x="184042" y="13689"/>
                  </a:cubicBezTo>
                  <a:cubicBezTo>
                    <a:pt x="112268" y="67000"/>
                    <a:pt x="58114" y="81150"/>
                    <a:pt x="42353" y="84359"/>
                  </a:cubicBezTo>
                  <a:lnTo>
                    <a:pt x="40413" y="84359"/>
                  </a:lnTo>
                  <a:cubicBezTo>
                    <a:pt x="0" y="89377"/>
                    <a:pt x="0" y="135531"/>
                    <a:pt x="0" y="135531"/>
                  </a:cubicBezTo>
                  <a:lnTo>
                    <a:pt x="0" y="208586"/>
                  </a:lnTo>
                  <a:cubicBezTo>
                    <a:pt x="0" y="208586"/>
                    <a:pt x="0" y="218952"/>
                    <a:pt x="8083" y="218870"/>
                  </a:cubicBezTo>
                  <a:cubicBezTo>
                    <a:pt x="174424" y="217060"/>
                    <a:pt x="212574" y="228907"/>
                    <a:pt x="223566" y="224547"/>
                  </a:cubicBezTo>
                  <a:cubicBezTo>
                    <a:pt x="234558" y="220186"/>
                    <a:pt x="248946" y="206612"/>
                    <a:pt x="262363" y="195012"/>
                  </a:cubicBezTo>
                  <a:cubicBezTo>
                    <a:pt x="281761" y="178476"/>
                    <a:pt x="422803" y="95136"/>
                    <a:pt x="422803" y="95136"/>
                  </a:cubicBezTo>
                  <a:cubicBezTo>
                    <a:pt x="449476" y="84441"/>
                    <a:pt x="459741" y="77202"/>
                    <a:pt x="461923" y="69715"/>
                  </a:cubicBezTo>
                  <a:cubicBezTo>
                    <a:pt x="466207" y="54742"/>
                    <a:pt x="435736" y="45774"/>
                    <a:pt x="404537" y="55894"/>
                  </a:cubicBezTo>
                  <a:close/>
                </a:path>
              </a:pathLst>
            </a:custGeom>
            <a:grpFill/>
            <a:ln w="802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  <p:sp>
        <p:nvSpPr>
          <p:cNvPr id="15" name="Freeform 4958">
            <a:extLst>
              <a:ext uri="{FF2B5EF4-FFF2-40B4-BE49-F238E27FC236}">
                <a16:creationId xmlns:a16="http://schemas.microsoft.com/office/drawing/2014/main" id="{4B7F02DF-1F11-9A45-99F7-791ED5E38C63}"/>
              </a:ext>
            </a:extLst>
          </p:cNvPr>
          <p:cNvSpPr>
            <a:spLocks noEditPoints="1"/>
          </p:cNvSpPr>
          <p:nvPr/>
        </p:nvSpPr>
        <p:spPr bwMode="auto">
          <a:xfrm>
            <a:off x="173273" y="5327345"/>
            <a:ext cx="665664" cy="635627"/>
          </a:xfrm>
          <a:custGeom>
            <a:avLst/>
            <a:gdLst>
              <a:gd name="T0" fmla="*/ 294 w 414"/>
              <a:gd name="T1" fmla="*/ 176 h 404"/>
              <a:gd name="T2" fmla="*/ 272 w 414"/>
              <a:gd name="T3" fmla="*/ 200 h 404"/>
              <a:gd name="T4" fmla="*/ 272 w 414"/>
              <a:gd name="T5" fmla="*/ 220 h 404"/>
              <a:gd name="T6" fmla="*/ 294 w 414"/>
              <a:gd name="T7" fmla="*/ 244 h 404"/>
              <a:gd name="T8" fmla="*/ 286 w 414"/>
              <a:gd name="T9" fmla="*/ 316 h 404"/>
              <a:gd name="T10" fmla="*/ 244 w 414"/>
              <a:gd name="T11" fmla="*/ 338 h 404"/>
              <a:gd name="T12" fmla="*/ 212 w 414"/>
              <a:gd name="T13" fmla="*/ 316 h 404"/>
              <a:gd name="T14" fmla="*/ 170 w 414"/>
              <a:gd name="T15" fmla="*/ 332 h 404"/>
              <a:gd name="T16" fmla="*/ 112 w 414"/>
              <a:gd name="T17" fmla="*/ 378 h 404"/>
              <a:gd name="T18" fmla="*/ 128 w 414"/>
              <a:gd name="T19" fmla="*/ 390 h 404"/>
              <a:gd name="T20" fmla="*/ 174 w 414"/>
              <a:gd name="T21" fmla="*/ 372 h 404"/>
              <a:gd name="T22" fmla="*/ 212 w 414"/>
              <a:gd name="T23" fmla="*/ 382 h 404"/>
              <a:gd name="T24" fmla="*/ 244 w 414"/>
              <a:gd name="T25" fmla="*/ 358 h 404"/>
              <a:gd name="T26" fmla="*/ 302 w 414"/>
              <a:gd name="T27" fmla="*/ 328 h 404"/>
              <a:gd name="T28" fmla="*/ 314 w 414"/>
              <a:gd name="T29" fmla="*/ 288 h 404"/>
              <a:gd name="T30" fmla="*/ 336 w 414"/>
              <a:gd name="T31" fmla="*/ 228 h 404"/>
              <a:gd name="T32" fmla="*/ 414 w 414"/>
              <a:gd name="T33" fmla="*/ 210 h 404"/>
              <a:gd name="T34" fmla="*/ 330 w 414"/>
              <a:gd name="T35" fmla="*/ 184 h 404"/>
              <a:gd name="T36" fmla="*/ 200 w 414"/>
              <a:gd name="T37" fmla="*/ 364 h 404"/>
              <a:gd name="T38" fmla="*/ 186 w 414"/>
              <a:gd name="T39" fmla="*/ 348 h 404"/>
              <a:gd name="T40" fmla="*/ 200 w 414"/>
              <a:gd name="T41" fmla="*/ 334 h 404"/>
              <a:gd name="T42" fmla="*/ 216 w 414"/>
              <a:gd name="T43" fmla="*/ 348 h 404"/>
              <a:gd name="T44" fmla="*/ 200 w 414"/>
              <a:gd name="T45" fmla="*/ 364 h 404"/>
              <a:gd name="T46" fmla="*/ 334 w 414"/>
              <a:gd name="T47" fmla="*/ 138 h 404"/>
              <a:gd name="T48" fmla="*/ 16 w 414"/>
              <a:gd name="T49" fmla="*/ 292 h 404"/>
              <a:gd name="T50" fmla="*/ 46 w 414"/>
              <a:gd name="T51" fmla="*/ 240 h 404"/>
              <a:gd name="T52" fmla="*/ 80 w 414"/>
              <a:gd name="T53" fmla="*/ 240 h 404"/>
              <a:gd name="T54" fmla="*/ 120 w 414"/>
              <a:gd name="T55" fmla="*/ 238 h 404"/>
              <a:gd name="T56" fmla="*/ 168 w 414"/>
              <a:gd name="T57" fmla="*/ 220 h 404"/>
              <a:gd name="T58" fmla="*/ 136 w 414"/>
              <a:gd name="T59" fmla="*/ 200 h 404"/>
              <a:gd name="T60" fmla="*/ 120 w 414"/>
              <a:gd name="T61" fmla="*/ 182 h 404"/>
              <a:gd name="T62" fmla="*/ 86 w 414"/>
              <a:gd name="T63" fmla="*/ 176 h 404"/>
              <a:gd name="T64" fmla="*/ 62 w 414"/>
              <a:gd name="T65" fmla="*/ 206 h 404"/>
              <a:gd name="T66" fmla="*/ 16 w 414"/>
              <a:gd name="T67" fmla="*/ 242 h 404"/>
              <a:gd name="T68" fmla="*/ 6 w 414"/>
              <a:gd name="T69" fmla="*/ 292 h 404"/>
              <a:gd name="T70" fmla="*/ 104 w 414"/>
              <a:gd name="T71" fmla="*/ 196 h 404"/>
              <a:gd name="T72" fmla="*/ 112 w 414"/>
              <a:gd name="T73" fmla="*/ 216 h 404"/>
              <a:gd name="T74" fmla="*/ 92 w 414"/>
              <a:gd name="T75" fmla="*/ 224 h 404"/>
              <a:gd name="T76" fmla="*/ 84 w 414"/>
              <a:gd name="T77" fmla="*/ 204 h 404"/>
              <a:gd name="T78" fmla="*/ 108 w 414"/>
              <a:gd name="T79" fmla="*/ 306 h 404"/>
              <a:gd name="T80" fmla="*/ 124 w 414"/>
              <a:gd name="T81" fmla="*/ 284 h 404"/>
              <a:gd name="T82" fmla="*/ 184 w 414"/>
              <a:gd name="T83" fmla="*/ 234 h 404"/>
              <a:gd name="T84" fmla="*/ 212 w 414"/>
              <a:gd name="T85" fmla="*/ 202 h 404"/>
              <a:gd name="T86" fmla="*/ 180 w 414"/>
              <a:gd name="T87" fmla="*/ 276 h 404"/>
              <a:gd name="T88" fmla="*/ 108 w 414"/>
              <a:gd name="T89" fmla="*/ 306 h 404"/>
              <a:gd name="T90" fmla="*/ 212 w 414"/>
              <a:gd name="T91" fmla="*/ 68 h 404"/>
              <a:gd name="T92" fmla="*/ 236 w 414"/>
              <a:gd name="T93" fmla="*/ 34 h 404"/>
              <a:gd name="T94" fmla="*/ 222 w 414"/>
              <a:gd name="T95" fmla="*/ 6 h 404"/>
              <a:gd name="T96" fmla="*/ 194 w 414"/>
              <a:gd name="T97" fmla="*/ 0 h 404"/>
              <a:gd name="T98" fmla="*/ 168 w 414"/>
              <a:gd name="T99" fmla="*/ 22 h 404"/>
              <a:gd name="T100" fmla="*/ 174 w 414"/>
              <a:gd name="T101" fmla="*/ 56 h 404"/>
              <a:gd name="T102" fmla="*/ 202 w 414"/>
              <a:gd name="T103" fmla="*/ 20 h 404"/>
              <a:gd name="T104" fmla="*/ 216 w 414"/>
              <a:gd name="T105" fmla="*/ 34 h 404"/>
              <a:gd name="T106" fmla="*/ 202 w 414"/>
              <a:gd name="T107" fmla="*/ 50 h 404"/>
              <a:gd name="T108" fmla="*/ 186 w 414"/>
              <a:gd name="T109" fmla="*/ 34 h 404"/>
              <a:gd name="T110" fmla="*/ 202 w 414"/>
              <a:gd name="T111" fmla="*/ 20 h 404"/>
              <a:gd name="T112" fmla="*/ 2 w 414"/>
              <a:gd name="T113" fmla="*/ 138 h 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14" h="404">
                <a:moveTo>
                  <a:pt x="314" y="176"/>
                </a:moveTo>
                <a:lnTo>
                  <a:pt x="314" y="30"/>
                </a:lnTo>
                <a:lnTo>
                  <a:pt x="314" y="30"/>
                </a:lnTo>
                <a:lnTo>
                  <a:pt x="294" y="20"/>
                </a:lnTo>
                <a:lnTo>
                  <a:pt x="294" y="176"/>
                </a:lnTo>
                <a:lnTo>
                  <a:pt x="294" y="176"/>
                </a:lnTo>
                <a:lnTo>
                  <a:pt x="286" y="180"/>
                </a:lnTo>
                <a:lnTo>
                  <a:pt x="280" y="184"/>
                </a:lnTo>
                <a:lnTo>
                  <a:pt x="274" y="192"/>
                </a:lnTo>
                <a:lnTo>
                  <a:pt x="272" y="200"/>
                </a:lnTo>
                <a:lnTo>
                  <a:pt x="232" y="200"/>
                </a:lnTo>
                <a:lnTo>
                  <a:pt x="232" y="202"/>
                </a:lnTo>
                <a:lnTo>
                  <a:pt x="232" y="202"/>
                </a:lnTo>
                <a:lnTo>
                  <a:pt x="230" y="220"/>
                </a:lnTo>
                <a:lnTo>
                  <a:pt x="272" y="220"/>
                </a:lnTo>
                <a:lnTo>
                  <a:pt x="272" y="220"/>
                </a:lnTo>
                <a:lnTo>
                  <a:pt x="274" y="228"/>
                </a:lnTo>
                <a:lnTo>
                  <a:pt x="280" y="234"/>
                </a:lnTo>
                <a:lnTo>
                  <a:pt x="286" y="240"/>
                </a:lnTo>
                <a:lnTo>
                  <a:pt x="294" y="244"/>
                </a:lnTo>
                <a:lnTo>
                  <a:pt x="294" y="288"/>
                </a:lnTo>
                <a:lnTo>
                  <a:pt x="294" y="288"/>
                </a:lnTo>
                <a:lnTo>
                  <a:pt x="294" y="298"/>
                </a:lnTo>
                <a:lnTo>
                  <a:pt x="290" y="308"/>
                </a:lnTo>
                <a:lnTo>
                  <a:pt x="286" y="316"/>
                </a:lnTo>
                <a:lnTo>
                  <a:pt x="280" y="324"/>
                </a:lnTo>
                <a:lnTo>
                  <a:pt x="272" y="330"/>
                </a:lnTo>
                <a:lnTo>
                  <a:pt x="264" y="334"/>
                </a:lnTo>
                <a:lnTo>
                  <a:pt x="254" y="338"/>
                </a:lnTo>
                <a:lnTo>
                  <a:pt x="244" y="338"/>
                </a:lnTo>
                <a:lnTo>
                  <a:pt x="234" y="338"/>
                </a:lnTo>
                <a:lnTo>
                  <a:pt x="234" y="338"/>
                </a:lnTo>
                <a:lnTo>
                  <a:pt x="230" y="328"/>
                </a:lnTo>
                <a:lnTo>
                  <a:pt x="222" y="320"/>
                </a:lnTo>
                <a:lnTo>
                  <a:pt x="212" y="316"/>
                </a:lnTo>
                <a:lnTo>
                  <a:pt x="200" y="314"/>
                </a:lnTo>
                <a:lnTo>
                  <a:pt x="200" y="314"/>
                </a:lnTo>
                <a:lnTo>
                  <a:pt x="188" y="316"/>
                </a:lnTo>
                <a:lnTo>
                  <a:pt x="178" y="322"/>
                </a:lnTo>
                <a:lnTo>
                  <a:pt x="170" y="332"/>
                </a:lnTo>
                <a:lnTo>
                  <a:pt x="166" y="342"/>
                </a:lnTo>
                <a:lnTo>
                  <a:pt x="166" y="342"/>
                </a:lnTo>
                <a:lnTo>
                  <a:pt x="146" y="350"/>
                </a:lnTo>
                <a:lnTo>
                  <a:pt x="128" y="362"/>
                </a:lnTo>
                <a:lnTo>
                  <a:pt x="112" y="378"/>
                </a:lnTo>
                <a:lnTo>
                  <a:pt x="100" y="396"/>
                </a:lnTo>
                <a:lnTo>
                  <a:pt x="100" y="396"/>
                </a:lnTo>
                <a:lnTo>
                  <a:pt x="118" y="404"/>
                </a:lnTo>
                <a:lnTo>
                  <a:pt x="118" y="404"/>
                </a:lnTo>
                <a:lnTo>
                  <a:pt x="128" y="390"/>
                </a:lnTo>
                <a:lnTo>
                  <a:pt x="140" y="378"/>
                </a:lnTo>
                <a:lnTo>
                  <a:pt x="152" y="370"/>
                </a:lnTo>
                <a:lnTo>
                  <a:pt x="168" y="362"/>
                </a:lnTo>
                <a:lnTo>
                  <a:pt x="168" y="362"/>
                </a:lnTo>
                <a:lnTo>
                  <a:pt x="174" y="372"/>
                </a:lnTo>
                <a:lnTo>
                  <a:pt x="182" y="378"/>
                </a:lnTo>
                <a:lnTo>
                  <a:pt x="190" y="382"/>
                </a:lnTo>
                <a:lnTo>
                  <a:pt x="200" y="384"/>
                </a:lnTo>
                <a:lnTo>
                  <a:pt x="200" y="384"/>
                </a:lnTo>
                <a:lnTo>
                  <a:pt x="212" y="382"/>
                </a:lnTo>
                <a:lnTo>
                  <a:pt x="222" y="378"/>
                </a:lnTo>
                <a:lnTo>
                  <a:pt x="230" y="370"/>
                </a:lnTo>
                <a:lnTo>
                  <a:pt x="234" y="358"/>
                </a:lnTo>
                <a:lnTo>
                  <a:pt x="244" y="358"/>
                </a:lnTo>
                <a:lnTo>
                  <a:pt x="244" y="358"/>
                </a:lnTo>
                <a:lnTo>
                  <a:pt x="258" y="358"/>
                </a:lnTo>
                <a:lnTo>
                  <a:pt x="272" y="354"/>
                </a:lnTo>
                <a:lnTo>
                  <a:pt x="284" y="346"/>
                </a:lnTo>
                <a:lnTo>
                  <a:pt x="294" y="338"/>
                </a:lnTo>
                <a:lnTo>
                  <a:pt x="302" y="328"/>
                </a:lnTo>
                <a:lnTo>
                  <a:pt x="310" y="316"/>
                </a:lnTo>
                <a:lnTo>
                  <a:pt x="314" y="302"/>
                </a:lnTo>
                <a:lnTo>
                  <a:pt x="314" y="288"/>
                </a:lnTo>
                <a:lnTo>
                  <a:pt x="314" y="288"/>
                </a:lnTo>
                <a:lnTo>
                  <a:pt x="314" y="288"/>
                </a:lnTo>
                <a:lnTo>
                  <a:pt x="314" y="244"/>
                </a:lnTo>
                <a:lnTo>
                  <a:pt x="314" y="244"/>
                </a:lnTo>
                <a:lnTo>
                  <a:pt x="324" y="240"/>
                </a:lnTo>
                <a:lnTo>
                  <a:pt x="330" y="234"/>
                </a:lnTo>
                <a:lnTo>
                  <a:pt x="336" y="228"/>
                </a:lnTo>
                <a:lnTo>
                  <a:pt x="338" y="220"/>
                </a:lnTo>
                <a:lnTo>
                  <a:pt x="414" y="220"/>
                </a:lnTo>
                <a:lnTo>
                  <a:pt x="414" y="220"/>
                </a:lnTo>
                <a:lnTo>
                  <a:pt x="414" y="210"/>
                </a:lnTo>
                <a:lnTo>
                  <a:pt x="414" y="210"/>
                </a:lnTo>
                <a:lnTo>
                  <a:pt x="414" y="200"/>
                </a:lnTo>
                <a:lnTo>
                  <a:pt x="338" y="200"/>
                </a:lnTo>
                <a:lnTo>
                  <a:pt x="338" y="200"/>
                </a:lnTo>
                <a:lnTo>
                  <a:pt x="336" y="192"/>
                </a:lnTo>
                <a:lnTo>
                  <a:pt x="330" y="184"/>
                </a:lnTo>
                <a:lnTo>
                  <a:pt x="324" y="180"/>
                </a:lnTo>
                <a:lnTo>
                  <a:pt x="314" y="176"/>
                </a:lnTo>
                <a:lnTo>
                  <a:pt x="314" y="176"/>
                </a:lnTo>
                <a:close/>
                <a:moveTo>
                  <a:pt x="200" y="364"/>
                </a:moveTo>
                <a:lnTo>
                  <a:pt x="200" y="364"/>
                </a:lnTo>
                <a:lnTo>
                  <a:pt x="194" y="364"/>
                </a:lnTo>
                <a:lnTo>
                  <a:pt x="190" y="360"/>
                </a:lnTo>
                <a:lnTo>
                  <a:pt x="186" y="354"/>
                </a:lnTo>
                <a:lnTo>
                  <a:pt x="186" y="348"/>
                </a:lnTo>
                <a:lnTo>
                  <a:pt x="186" y="348"/>
                </a:lnTo>
                <a:lnTo>
                  <a:pt x="186" y="342"/>
                </a:lnTo>
                <a:lnTo>
                  <a:pt x="190" y="338"/>
                </a:lnTo>
                <a:lnTo>
                  <a:pt x="194" y="334"/>
                </a:lnTo>
                <a:lnTo>
                  <a:pt x="200" y="334"/>
                </a:lnTo>
                <a:lnTo>
                  <a:pt x="200" y="334"/>
                </a:lnTo>
                <a:lnTo>
                  <a:pt x="206" y="334"/>
                </a:lnTo>
                <a:lnTo>
                  <a:pt x="212" y="338"/>
                </a:lnTo>
                <a:lnTo>
                  <a:pt x="216" y="342"/>
                </a:lnTo>
                <a:lnTo>
                  <a:pt x="216" y="348"/>
                </a:lnTo>
                <a:lnTo>
                  <a:pt x="216" y="348"/>
                </a:lnTo>
                <a:lnTo>
                  <a:pt x="216" y="354"/>
                </a:lnTo>
                <a:lnTo>
                  <a:pt x="212" y="360"/>
                </a:lnTo>
                <a:lnTo>
                  <a:pt x="206" y="364"/>
                </a:lnTo>
                <a:lnTo>
                  <a:pt x="200" y="364"/>
                </a:lnTo>
                <a:lnTo>
                  <a:pt x="200" y="364"/>
                </a:lnTo>
                <a:close/>
                <a:moveTo>
                  <a:pt x="334" y="118"/>
                </a:moveTo>
                <a:lnTo>
                  <a:pt x="394" y="118"/>
                </a:lnTo>
                <a:lnTo>
                  <a:pt x="394" y="118"/>
                </a:lnTo>
                <a:lnTo>
                  <a:pt x="402" y="138"/>
                </a:lnTo>
                <a:lnTo>
                  <a:pt x="334" y="138"/>
                </a:lnTo>
                <a:lnTo>
                  <a:pt x="334" y="118"/>
                </a:lnTo>
                <a:close/>
                <a:moveTo>
                  <a:pt x="16" y="310"/>
                </a:moveTo>
                <a:lnTo>
                  <a:pt x="16" y="304"/>
                </a:lnTo>
                <a:lnTo>
                  <a:pt x="16" y="304"/>
                </a:lnTo>
                <a:lnTo>
                  <a:pt x="16" y="292"/>
                </a:lnTo>
                <a:lnTo>
                  <a:pt x="20" y="278"/>
                </a:lnTo>
                <a:lnTo>
                  <a:pt x="24" y="268"/>
                </a:lnTo>
                <a:lnTo>
                  <a:pt x="30" y="256"/>
                </a:lnTo>
                <a:lnTo>
                  <a:pt x="38" y="248"/>
                </a:lnTo>
                <a:lnTo>
                  <a:pt x="46" y="240"/>
                </a:lnTo>
                <a:lnTo>
                  <a:pt x="56" y="232"/>
                </a:lnTo>
                <a:lnTo>
                  <a:pt x="66" y="226"/>
                </a:lnTo>
                <a:lnTo>
                  <a:pt x="66" y="226"/>
                </a:lnTo>
                <a:lnTo>
                  <a:pt x="72" y="234"/>
                </a:lnTo>
                <a:lnTo>
                  <a:pt x="80" y="240"/>
                </a:lnTo>
                <a:lnTo>
                  <a:pt x="88" y="244"/>
                </a:lnTo>
                <a:lnTo>
                  <a:pt x="98" y="246"/>
                </a:lnTo>
                <a:lnTo>
                  <a:pt x="98" y="246"/>
                </a:lnTo>
                <a:lnTo>
                  <a:pt x="110" y="244"/>
                </a:lnTo>
                <a:lnTo>
                  <a:pt x="120" y="238"/>
                </a:lnTo>
                <a:lnTo>
                  <a:pt x="128" y="230"/>
                </a:lnTo>
                <a:lnTo>
                  <a:pt x="132" y="220"/>
                </a:lnTo>
                <a:lnTo>
                  <a:pt x="132" y="220"/>
                </a:lnTo>
                <a:lnTo>
                  <a:pt x="136" y="220"/>
                </a:lnTo>
                <a:lnTo>
                  <a:pt x="168" y="220"/>
                </a:lnTo>
                <a:lnTo>
                  <a:pt x="168" y="220"/>
                </a:lnTo>
                <a:lnTo>
                  <a:pt x="170" y="212"/>
                </a:lnTo>
                <a:lnTo>
                  <a:pt x="172" y="202"/>
                </a:lnTo>
                <a:lnTo>
                  <a:pt x="172" y="200"/>
                </a:lnTo>
                <a:lnTo>
                  <a:pt x="136" y="200"/>
                </a:lnTo>
                <a:lnTo>
                  <a:pt x="136" y="200"/>
                </a:lnTo>
                <a:lnTo>
                  <a:pt x="132" y="200"/>
                </a:lnTo>
                <a:lnTo>
                  <a:pt x="132" y="200"/>
                </a:lnTo>
                <a:lnTo>
                  <a:pt x="128" y="190"/>
                </a:lnTo>
                <a:lnTo>
                  <a:pt x="120" y="182"/>
                </a:lnTo>
                <a:lnTo>
                  <a:pt x="110" y="176"/>
                </a:lnTo>
                <a:lnTo>
                  <a:pt x="98" y="174"/>
                </a:lnTo>
                <a:lnTo>
                  <a:pt x="98" y="174"/>
                </a:lnTo>
                <a:lnTo>
                  <a:pt x="92" y="176"/>
                </a:lnTo>
                <a:lnTo>
                  <a:pt x="86" y="176"/>
                </a:lnTo>
                <a:lnTo>
                  <a:pt x="74" y="184"/>
                </a:lnTo>
                <a:lnTo>
                  <a:pt x="66" y="194"/>
                </a:lnTo>
                <a:lnTo>
                  <a:pt x="64" y="200"/>
                </a:lnTo>
                <a:lnTo>
                  <a:pt x="62" y="206"/>
                </a:lnTo>
                <a:lnTo>
                  <a:pt x="62" y="206"/>
                </a:lnTo>
                <a:lnTo>
                  <a:pt x="52" y="212"/>
                </a:lnTo>
                <a:lnTo>
                  <a:pt x="42" y="218"/>
                </a:lnTo>
                <a:lnTo>
                  <a:pt x="32" y="224"/>
                </a:lnTo>
                <a:lnTo>
                  <a:pt x="24" y="232"/>
                </a:lnTo>
                <a:lnTo>
                  <a:pt x="16" y="242"/>
                </a:lnTo>
                <a:lnTo>
                  <a:pt x="10" y="252"/>
                </a:lnTo>
                <a:lnTo>
                  <a:pt x="4" y="262"/>
                </a:lnTo>
                <a:lnTo>
                  <a:pt x="0" y="274"/>
                </a:lnTo>
                <a:lnTo>
                  <a:pt x="0" y="274"/>
                </a:lnTo>
                <a:lnTo>
                  <a:pt x="6" y="292"/>
                </a:lnTo>
                <a:lnTo>
                  <a:pt x="16" y="310"/>
                </a:lnTo>
                <a:lnTo>
                  <a:pt x="16" y="310"/>
                </a:lnTo>
                <a:close/>
                <a:moveTo>
                  <a:pt x="98" y="194"/>
                </a:moveTo>
                <a:lnTo>
                  <a:pt x="98" y="194"/>
                </a:lnTo>
                <a:lnTo>
                  <a:pt x="104" y="196"/>
                </a:lnTo>
                <a:lnTo>
                  <a:pt x="110" y="198"/>
                </a:lnTo>
                <a:lnTo>
                  <a:pt x="112" y="204"/>
                </a:lnTo>
                <a:lnTo>
                  <a:pt x="114" y="210"/>
                </a:lnTo>
                <a:lnTo>
                  <a:pt x="114" y="210"/>
                </a:lnTo>
                <a:lnTo>
                  <a:pt x="112" y="216"/>
                </a:lnTo>
                <a:lnTo>
                  <a:pt x="110" y="220"/>
                </a:lnTo>
                <a:lnTo>
                  <a:pt x="104" y="224"/>
                </a:lnTo>
                <a:lnTo>
                  <a:pt x="98" y="226"/>
                </a:lnTo>
                <a:lnTo>
                  <a:pt x="98" y="226"/>
                </a:lnTo>
                <a:lnTo>
                  <a:pt x="92" y="224"/>
                </a:lnTo>
                <a:lnTo>
                  <a:pt x="88" y="220"/>
                </a:lnTo>
                <a:lnTo>
                  <a:pt x="84" y="216"/>
                </a:lnTo>
                <a:lnTo>
                  <a:pt x="82" y="210"/>
                </a:lnTo>
                <a:lnTo>
                  <a:pt x="82" y="210"/>
                </a:lnTo>
                <a:lnTo>
                  <a:pt x="84" y="204"/>
                </a:lnTo>
                <a:lnTo>
                  <a:pt x="88" y="198"/>
                </a:lnTo>
                <a:lnTo>
                  <a:pt x="92" y="196"/>
                </a:lnTo>
                <a:lnTo>
                  <a:pt x="98" y="194"/>
                </a:lnTo>
                <a:lnTo>
                  <a:pt x="98" y="194"/>
                </a:lnTo>
                <a:close/>
                <a:moveTo>
                  <a:pt x="108" y="306"/>
                </a:moveTo>
                <a:lnTo>
                  <a:pt x="36" y="306"/>
                </a:lnTo>
                <a:lnTo>
                  <a:pt x="36" y="286"/>
                </a:lnTo>
                <a:lnTo>
                  <a:pt x="108" y="286"/>
                </a:lnTo>
                <a:lnTo>
                  <a:pt x="108" y="286"/>
                </a:lnTo>
                <a:lnTo>
                  <a:pt x="124" y="284"/>
                </a:lnTo>
                <a:lnTo>
                  <a:pt x="140" y="280"/>
                </a:lnTo>
                <a:lnTo>
                  <a:pt x="154" y="272"/>
                </a:lnTo>
                <a:lnTo>
                  <a:pt x="166" y="262"/>
                </a:lnTo>
                <a:lnTo>
                  <a:pt x="178" y="250"/>
                </a:lnTo>
                <a:lnTo>
                  <a:pt x="184" y="234"/>
                </a:lnTo>
                <a:lnTo>
                  <a:pt x="190" y="220"/>
                </a:lnTo>
                <a:lnTo>
                  <a:pt x="192" y="202"/>
                </a:lnTo>
                <a:lnTo>
                  <a:pt x="192" y="158"/>
                </a:lnTo>
                <a:lnTo>
                  <a:pt x="212" y="158"/>
                </a:lnTo>
                <a:lnTo>
                  <a:pt x="212" y="202"/>
                </a:lnTo>
                <a:lnTo>
                  <a:pt x="212" y="202"/>
                </a:lnTo>
                <a:lnTo>
                  <a:pt x="210" y="224"/>
                </a:lnTo>
                <a:lnTo>
                  <a:pt x="204" y="242"/>
                </a:lnTo>
                <a:lnTo>
                  <a:pt x="194" y="260"/>
                </a:lnTo>
                <a:lnTo>
                  <a:pt x="180" y="276"/>
                </a:lnTo>
                <a:lnTo>
                  <a:pt x="166" y="288"/>
                </a:lnTo>
                <a:lnTo>
                  <a:pt x="148" y="298"/>
                </a:lnTo>
                <a:lnTo>
                  <a:pt x="128" y="304"/>
                </a:lnTo>
                <a:lnTo>
                  <a:pt x="108" y="306"/>
                </a:lnTo>
                <a:lnTo>
                  <a:pt x="108" y="306"/>
                </a:lnTo>
                <a:close/>
                <a:moveTo>
                  <a:pt x="192" y="68"/>
                </a:moveTo>
                <a:lnTo>
                  <a:pt x="192" y="98"/>
                </a:lnTo>
                <a:lnTo>
                  <a:pt x="212" y="98"/>
                </a:lnTo>
                <a:lnTo>
                  <a:pt x="212" y="68"/>
                </a:lnTo>
                <a:lnTo>
                  <a:pt x="212" y="68"/>
                </a:lnTo>
                <a:lnTo>
                  <a:pt x="222" y="64"/>
                </a:lnTo>
                <a:lnTo>
                  <a:pt x="230" y="56"/>
                </a:lnTo>
                <a:lnTo>
                  <a:pt x="236" y="46"/>
                </a:lnTo>
                <a:lnTo>
                  <a:pt x="236" y="34"/>
                </a:lnTo>
                <a:lnTo>
                  <a:pt x="236" y="34"/>
                </a:lnTo>
                <a:lnTo>
                  <a:pt x="236" y="28"/>
                </a:lnTo>
                <a:lnTo>
                  <a:pt x="234" y="22"/>
                </a:lnTo>
                <a:lnTo>
                  <a:pt x="230" y="16"/>
                </a:lnTo>
                <a:lnTo>
                  <a:pt x="226" y="10"/>
                </a:lnTo>
                <a:lnTo>
                  <a:pt x="222" y="6"/>
                </a:lnTo>
                <a:lnTo>
                  <a:pt x="216" y="2"/>
                </a:lnTo>
                <a:lnTo>
                  <a:pt x="208" y="0"/>
                </a:lnTo>
                <a:lnTo>
                  <a:pt x="202" y="0"/>
                </a:lnTo>
                <a:lnTo>
                  <a:pt x="202" y="0"/>
                </a:lnTo>
                <a:lnTo>
                  <a:pt x="194" y="0"/>
                </a:lnTo>
                <a:lnTo>
                  <a:pt x="188" y="2"/>
                </a:lnTo>
                <a:lnTo>
                  <a:pt x="182" y="6"/>
                </a:lnTo>
                <a:lnTo>
                  <a:pt x="176" y="10"/>
                </a:lnTo>
                <a:lnTo>
                  <a:pt x="172" y="16"/>
                </a:lnTo>
                <a:lnTo>
                  <a:pt x="168" y="22"/>
                </a:lnTo>
                <a:lnTo>
                  <a:pt x="166" y="28"/>
                </a:lnTo>
                <a:lnTo>
                  <a:pt x="166" y="34"/>
                </a:lnTo>
                <a:lnTo>
                  <a:pt x="166" y="34"/>
                </a:lnTo>
                <a:lnTo>
                  <a:pt x="168" y="46"/>
                </a:lnTo>
                <a:lnTo>
                  <a:pt x="174" y="56"/>
                </a:lnTo>
                <a:lnTo>
                  <a:pt x="182" y="64"/>
                </a:lnTo>
                <a:lnTo>
                  <a:pt x="192" y="68"/>
                </a:lnTo>
                <a:lnTo>
                  <a:pt x="192" y="68"/>
                </a:lnTo>
                <a:close/>
                <a:moveTo>
                  <a:pt x="202" y="20"/>
                </a:moveTo>
                <a:lnTo>
                  <a:pt x="202" y="20"/>
                </a:lnTo>
                <a:lnTo>
                  <a:pt x="208" y="20"/>
                </a:lnTo>
                <a:lnTo>
                  <a:pt x="212" y="24"/>
                </a:lnTo>
                <a:lnTo>
                  <a:pt x="216" y="28"/>
                </a:lnTo>
                <a:lnTo>
                  <a:pt x="216" y="34"/>
                </a:lnTo>
                <a:lnTo>
                  <a:pt x="216" y="34"/>
                </a:lnTo>
                <a:lnTo>
                  <a:pt x="216" y="40"/>
                </a:lnTo>
                <a:lnTo>
                  <a:pt x="212" y="46"/>
                </a:lnTo>
                <a:lnTo>
                  <a:pt x="208" y="50"/>
                </a:lnTo>
                <a:lnTo>
                  <a:pt x="202" y="50"/>
                </a:lnTo>
                <a:lnTo>
                  <a:pt x="202" y="50"/>
                </a:lnTo>
                <a:lnTo>
                  <a:pt x="196" y="50"/>
                </a:lnTo>
                <a:lnTo>
                  <a:pt x="190" y="46"/>
                </a:lnTo>
                <a:lnTo>
                  <a:pt x="188" y="40"/>
                </a:lnTo>
                <a:lnTo>
                  <a:pt x="186" y="34"/>
                </a:lnTo>
                <a:lnTo>
                  <a:pt x="186" y="34"/>
                </a:lnTo>
                <a:lnTo>
                  <a:pt x="188" y="28"/>
                </a:lnTo>
                <a:lnTo>
                  <a:pt x="190" y="24"/>
                </a:lnTo>
                <a:lnTo>
                  <a:pt x="196" y="20"/>
                </a:lnTo>
                <a:lnTo>
                  <a:pt x="202" y="20"/>
                </a:lnTo>
                <a:lnTo>
                  <a:pt x="202" y="20"/>
                </a:lnTo>
                <a:close/>
                <a:moveTo>
                  <a:pt x="10" y="118"/>
                </a:moveTo>
                <a:lnTo>
                  <a:pt x="274" y="118"/>
                </a:lnTo>
                <a:lnTo>
                  <a:pt x="274" y="138"/>
                </a:lnTo>
                <a:lnTo>
                  <a:pt x="2" y="138"/>
                </a:lnTo>
                <a:lnTo>
                  <a:pt x="2" y="138"/>
                </a:lnTo>
                <a:lnTo>
                  <a:pt x="10" y="118"/>
                </a:lnTo>
                <a:lnTo>
                  <a:pt x="10" y="1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defRPr/>
            </a:pPr>
            <a:endParaRPr lang="en-GB" sz="1050" kern="0" dirty="0">
              <a:solidFill>
                <a:srgbClr val="000000"/>
              </a:solidFill>
              <a:latin typeface="Arial"/>
              <a:ea typeface="+mn-ea"/>
              <a:cs typeface="Arial"/>
              <a:sym typeface="Arial"/>
            </a:endParaRPr>
          </a:p>
        </p:txBody>
      </p:sp>
      <p:sp>
        <p:nvSpPr>
          <p:cNvPr id="16" name="Google Shape;10777;p193">
            <a:extLst>
              <a:ext uri="{FF2B5EF4-FFF2-40B4-BE49-F238E27FC236}">
                <a16:creationId xmlns:a16="http://schemas.microsoft.com/office/drawing/2014/main" id="{9DC99A0E-2910-9D40-AC7D-584D5A5D25EB}"/>
              </a:ext>
            </a:extLst>
          </p:cNvPr>
          <p:cNvSpPr/>
          <p:nvPr/>
        </p:nvSpPr>
        <p:spPr>
          <a:xfrm>
            <a:off x="108316" y="1875917"/>
            <a:ext cx="795578" cy="636462"/>
          </a:xfrm>
          <a:custGeom>
            <a:avLst/>
            <a:gdLst/>
            <a:ahLst/>
            <a:cxnLst/>
            <a:rect l="l" t="t" r="r" b="b"/>
            <a:pathLst>
              <a:path w="500" h="400" extrusionOk="0">
                <a:moveTo>
                  <a:pt x="498" y="166"/>
                </a:moveTo>
                <a:lnTo>
                  <a:pt x="498" y="166"/>
                </a:lnTo>
                <a:lnTo>
                  <a:pt x="478" y="164"/>
                </a:lnTo>
                <a:lnTo>
                  <a:pt x="460" y="162"/>
                </a:lnTo>
                <a:lnTo>
                  <a:pt x="440" y="156"/>
                </a:lnTo>
                <a:lnTo>
                  <a:pt x="422" y="150"/>
                </a:lnTo>
                <a:lnTo>
                  <a:pt x="406" y="142"/>
                </a:lnTo>
                <a:lnTo>
                  <a:pt x="388" y="130"/>
                </a:lnTo>
                <a:lnTo>
                  <a:pt x="374" y="120"/>
                </a:lnTo>
                <a:lnTo>
                  <a:pt x="358" y="106"/>
                </a:lnTo>
                <a:lnTo>
                  <a:pt x="358" y="106"/>
                </a:lnTo>
                <a:lnTo>
                  <a:pt x="358" y="106"/>
                </a:lnTo>
                <a:lnTo>
                  <a:pt x="358" y="106"/>
                </a:lnTo>
                <a:lnTo>
                  <a:pt x="356" y="104"/>
                </a:lnTo>
                <a:lnTo>
                  <a:pt x="356" y="104"/>
                </a:lnTo>
                <a:lnTo>
                  <a:pt x="352" y="102"/>
                </a:lnTo>
                <a:lnTo>
                  <a:pt x="286" y="102"/>
                </a:lnTo>
                <a:lnTo>
                  <a:pt x="260" y="8"/>
                </a:lnTo>
                <a:lnTo>
                  <a:pt x="260" y="8"/>
                </a:lnTo>
                <a:lnTo>
                  <a:pt x="260" y="6"/>
                </a:lnTo>
                <a:lnTo>
                  <a:pt x="260" y="6"/>
                </a:lnTo>
                <a:lnTo>
                  <a:pt x="258" y="4"/>
                </a:lnTo>
                <a:lnTo>
                  <a:pt x="258" y="4"/>
                </a:lnTo>
                <a:lnTo>
                  <a:pt x="256" y="4"/>
                </a:lnTo>
                <a:lnTo>
                  <a:pt x="256" y="4"/>
                </a:lnTo>
                <a:lnTo>
                  <a:pt x="256" y="2"/>
                </a:lnTo>
                <a:lnTo>
                  <a:pt x="256" y="2"/>
                </a:lnTo>
                <a:lnTo>
                  <a:pt x="254" y="2"/>
                </a:lnTo>
                <a:lnTo>
                  <a:pt x="254" y="2"/>
                </a:lnTo>
                <a:lnTo>
                  <a:pt x="252" y="0"/>
                </a:lnTo>
                <a:lnTo>
                  <a:pt x="252" y="0"/>
                </a:lnTo>
                <a:lnTo>
                  <a:pt x="252" y="0"/>
                </a:lnTo>
                <a:lnTo>
                  <a:pt x="252" y="0"/>
                </a:lnTo>
                <a:lnTo>
                  <a:pt x="250" y="0"/>
                </a:lnTo>
                <a:lnTo>
                  <a:pt x="250" y="0"/>
                </a:lnTo>
                <a:lnTo>
                  <a:pt x="248" y="0"/>
                </a:lnTo>
                <a:lnTo>
                  <a:pt x="248" y="0"/>
                </a:lnTo>
                <a:lnTo>
                  <a:pt x="248" y="0"/>
                </a:lnTo>
                <a:lnTo>
                  <a:pt x="248" y="0"/>
                </a:lnTo>
                <a:lnTo>
                  <a:pt x="246" y="2"/>
                </a:lnTo>
                <a:lnTo>
                  <a:pt x="246" y="2"/>
                </a:lnTo>
                <a:lnTo>
                  <a:pt x="244" y="2"/>
                </a:lnTo>
                <a:lnTo>
                  <a:pt x="244" y="2"/>
                </a:lnTo>
                <a:lnTo>
                  <a:pt x="244" y="4"/>
                </a:lnTo>
                <a:lnTo>
                  <a:pt x="244" y="4"/>
                </a:lnTo>
                <a:lnTo>
                  <a:pt x="242" y="4"/>
                </a:lnTo>
                <a:lnTo>
                  <a:pt x="242" y="4"/>
                </a:lnTo>
                <a:lnTo>
                  <a:pt x="240" y="6"/>
                </a:lnTo>
                <a:lnTo>
                  <a:pt x="240" y="6"/>
                </a:lnTo>
                <a:lnTo>
                  <a:pt x="240" y="8"/>
                </a:lnTo>
                <a:lnTo>
                  <a:pt x="214" y="102"/>
                </a:lnTo>
                <a:lnTo>
                  <a:pt x="148" y="102"/>
                </a:lnTo>
                <a:lnTo>
                  <a:pt x="148" y="102"/>
                </a:lnTo>
                <a:lnTo>
                  <a:pt x="144" y="104"/>
                </a:lnTo>
                <a:lnTo>
                  <a:pt x="144" y="104"/>
                </a:lnTo>
                <a:lnTo>
                  <a:pt x="142" y="106"/>
                </a:lnTo>
                <a:lnTo>
                  <a:pt x="142" y="106"/>
                </a:lnTo>
                <a:lnTo>
                  <a:pt x="142" y="106"/>
                </a:lnTo>
                <a:lnTo>
                  <a:pt x="142" y="106"/>
                </a:lnTo>
                <a:lnTo>
                  <a:pt x="126" y="120"/>
                </a:lnTo>
                <a:lnTo>
                  <a:pt x="112" y="130"/>
                </a:lnTo>
                <a:lnTo>
                  <a:pt x="94" y="142"/>
                </a:lnTo>
                <a:lnTo>
                  <a:pt x="78" y="150"/>
                </a:lnTo>
                <a:lnTo>
                  <a:pt x="60" y="156"/>
                </a:lnTo>
                <a:lnTo>
                  <a:pt x="40" y="162"/>
                </a:lnTo>
                <a:lnTo>
                  <a:pt x="22" y="164"/>
                </a:lnTo>
                <a:lnTo>
                  <a:pt x="2" y="166"/>
                </a:lnTo>
                <a:lnTo>
                  <a:pt x="2" y="166"/>
                </a:lnTo>
                <a:lnTo>
                  <a:pt x="0" y="186"/>
                </a:lnTo>
                <a:lnTo>
                  <a:pt x="0" y="186"/>
                </a:lnTo>
                <a:lnTo>
                  <a:pt x="0" y="186"/>
                </a:lnTo>
                <a:lnTo>
                  <a:pt x="0" y="186"/>
                </a:lnTo>
                <a:lnTo>
                  <a:pt x="0" y="186"/>
                </a:lnTo>
                <a:lnTo>
                  <a:pt x="0" y="186"/>
                </a:lnTo>
                <a:lnTo>
                  <a:pt x="20" y="184"/>
                </a:lnTo>
                <a:lnTo>
                  <a:pt x="40" y="182"/>
                </a:lnTo>
                <a:lnTo>
                  <a:pt x="60" y="176"/>
                </a:lnTo>
                <a:lnTo>
                  <a:pt x="80" y="170"/>
                </a:lnTo>
                <a:lnTo>
                  <a:pt x="98" y="162"/>
                </a:lnTo>
                <a:lnTo>
                  <a:pt x="116" y="152"/>
                </a:lnTo>
                <a:lnTo>
                  <a:pt x="134" y="140"/>
                </a:lnTo>
                <a:lnTo>
                  <a:pt x="150" y="126"/>
                </a:lnTo>
                <a:lnTo>
                  <a:pt x="200" y="156"/>
                </a:lnTo>
                <a:lnTo>
                  <a:pt x="138" y="388"/>
                </a:lnTo>
                <a:lnTo>
                  <a:pt x="138" y="388"/>
                </a:lnTo>
                <a:lnTo>
                  <a:pt x="138" y="392"/>
                </a:lnTo>
                <a:lnTo>
                  <a:pt x="140" y="394"/>
                </a:lnTo>
                <a:lnTo>
                  <a:pt x="142" y="398"/>
                </a:lnTo>
                <a:lnTo>
                  <a:pt x="146" y="400"/>
                </a:lnTo>
                <a:lnTo>
                  <a:pt x="146" y="400"/>
                </a:lnTo>
                <a:lnTo>
                  <a:pt x="148" y="400"/>
                </a:lnTo>
                <a:lnTo>
                  <a:pt x="148" y="400"/>
                </a:lnTo>
                <a:lnTo>
                  <a:pt x="154" y="398"/>
                </a:lnTo>
                <a:lnTo>
                  <a:pt x="158" y="392"/>
                </a:lnTo>
                <a:lnTo>
                  <a:pt x="164" y="372"/>
                </a:lnTo>
                <a:lnTo>
                  <a:pt x="250" y="322"/>
                </a:lnTo>
                <a:lnTo>
                  <a:pt x="336" y="372"/>
                </a:lnTo>
                <a:lnTo>
                  <a:pt x="342" y="392"/>
                </a:lnTo>
                <a:lnTo>
                  <a:pt x="342" y="392"/>
                </a:lnTo>
                <a:lnTo>
                  <a:pt x="346" y="398"/>
                </a:lnTo>
                <a:lnTo>
                  <a:pt x="352" y="400"/>
                </a:lnTo>
                <a:lnTo>
                  <a:pt x="352" y="400"/>
                </a:lnTo>
                <a:lnTo>
                  <a:pt x="354" y="400"/>
                </a:lnTo>
                <a:lnTo>
                  <a:pt x="354" y="400"/>
                </a:lnTo>
                <a:lnTo>
                  <a:pt x="358" y="398"/>
                </a:lnTo>
                <a:lnTo>
                  <a:pt x="360" y="394"/>
                </a:lnTo>
                <a:lnTo>
                  <a:pt x="362" y="392"/>
                </a:lnTo>
                <a:lnTo>
                  <a:pt x="362" y="388"/>
                </a:lnTo>
                <a:lnTo>
                  <a:pt x="300" y="156"/>
                </a:lnTo>
                <a:lnTo>
                  <a:pt x="350" y="126"/>
                </a:lnTo>
                <a:lnTo>
                  <a:pt x="350" y="126"/>
                </a:lnTo>
                <a:lnTo>
                  <a:pt x="366" y="140"/>
                </a:lnTo>
                <a:lnTo>
                  <a:pt x="384" y="152"/>
                </a:lnTo>
                <a:lnTo>
                  <a:pt x="402" y="162"/>
                </a:lnTo>
                <a:lnTo>
                  <a:pt x="420" y="170"/>
                </a:lnTo>
                <a:lnTo>
                  <a:pt x="438" y="176"/>
                </a:lnTo>
                <a:lnTo>
                  <a:pt x="458" y="182"/>
                </a:lnTo>
                <a:lnTo>
                  <a:pt x="480" y="184"/>
                </a:lnTo>
                <a:lnTo>
                  <a:pt x="500" y="186"/>
                </a:lnTo>
                <a:lnTo>
                  <a:pt x="500" y="186"/>
                </a:lnTo>
                <a:lnTo>
                  <a:pt x="500" y="186"/>
                </a:lnTo>
                <a:lnTo>
                  <a:pt x="500" y="186"/>
                </a:lnTo>
                <a:lnTo>
                  <a:pt x="500" y="186"/>
                </a:lnTo>
                <a:lnTo>
                  <a:pt x="500" y="186"/>
                </a:lnTo>
                <a:lnTo>
                  <a:pt x="498" y="166"/>
                </a:lnTo>
                <a:lnTo>
                  <a:pt x="498" y="166"/>
                </a:lnTo>
                <a:close/>
                <a:moveTo>
                  <a:pt x="286" y="182"/>
                </a:moveTo>
                <a:lnTo>
                  <a:pt x="270" y="172"/>
                </a:lnTo>
                <a:lnTo>
                  <a:pt x="282" y="166"/>
                </a:lnTo>
                <a:lnTo>
                  <a:pt x="286" y="182"/>
                </a:lnTo>
                <a:close/>
                <a:moveTo>
                  <a:pt x="280" y="202"/>
                </a:moveTo>
                <a:lnTo>
                  <a:pt x="250" y="220"/>
                </a:lnTo>
                <a:lnTo>
                  <a:pt x="220" y="202"/>
                </a:lnTo>
                <a:lnTo>
                  <a:pt x="250" y="184"/>
                </a:lnTo>
                <a:lnTo>
                  <a:pt x="280" y="202"/>
                </a:lnTo>
                <a:close/>
                <a:moveTo>
                  <a:pt x="250" y="50"/>
                </a:moveTo>
                <a:lnTo>
                  <a:pt x="264" y="102"/>
                </a:lnTo>
                <a:lnTo>
                  <a:pt x="236" y="102"/>
                </a:lnTo>
                <a:lnTo>
                  <a:pt x="250" y="50"/>
                </a:lnTo>
                <a:close/>
                <a:moveTo>
                  <a:pt x="230" y="122"/>
                </a:moveTo>
                <a:lnTo>
                  <a:pt x="270" y="122"/>
                </a:lnTo>
                <a:lnTo>
                  <a:pt x="276" y="146"/>
                </a:lnTo>
                <a:lnTo>
                  <a:pt x="250" y="162"/>
                </a:lnTo>
                <a:lnTo>
                  <a:pt x="224" y="146"/>
                </a:lnTo>
                <a:lnTo>
                  <a:pt x="230" y="122"/>
                </a:lnTo>
                <a:close/>
                <a:moveTo>
                  <a:pt x="218" y="166"/>
                </a:moveTo>
                <a:lnTo>
                  <a:pt x="230" y="172"/>
                </a:lnTo>
                <a:lnTo>
                  <a:pt x="214" y="182"/>
                </a:lnTo>
                <a:lnTo>
                  <a:pt x="218" y="166"/>
                </a:lnTo>
                <a:close/>
                <a:moveTo>
                  <a:pt x="184" y="122"/>
                </a:moveTo>
                <a:lnTo>
                  <a:pt x="210" y="122"/>
                </a:lnTo>
                <a:lnTo>
                  <a:pt x="206" y="136"/>
                </a:lnTo>
                <a:lnTo>
                  <a:pt x="184" y="122"/>
                </a:lnTo>
                <a:close/>
                <a:moveTo>
                  <a:pt x="206" y="216"/>
                </a:moveTo>
                <a:lnTo>
                  <a:pt x="230" y="232"/>
                </a:lnTo>
                <a:lnTo>
                  <a:pt x="196" y="250"/>
                </a:lnTo>
                <a:lnTo>
                  <a:pt x="206" y="216"/>
                </a:lnTo>
                <a:close/>
                <a:moveTo>
                  <a:pt x="170" y="346"/>
                </a:moveTo>
                <a:lnTo>
                  <a:pt x="186" y="286"/>
                </a:lnTo>
                <a:lnTo>
                  <a:pt x="230" y="312"/>
                </a:lnTo>
                <a:lnTo>
                  <a:pt x="170" y="346"/>
                </a:lnTo>
                <a:close/>
                <a:moveTo>
                  <a:pt x="200" y="272"/>
                </a:moveTo>
                <a:lnTo>
                  <a:pt x="250" y="242"/>
                </a:lnTo>
                <a:lnTo>
                  <a:pt x="300" y="272"/>
                </a:lnTo>
                <a:lnTo>
                  <a:pt x="250" y="300"/>
                </a:lnTo>
                <a:lnTo>
                  <a:pt x="200" y="272"/>
                </a:lnTo>
                <a:close/>
                <a:moveTo>
                  <a:pt x="330" y="346"/>
                </a:moveTo>
                <a:lnTo>
                  <a:pt x="270" y="312"/>
                </a:lnTo>
                <a:lnTo>
                  <a:pt x="314" y="286"/>
                </a:lnTo>
                <a:lnTo>
                  <a:pt x="330" y="346"/>
                </a:lnTo>
                <a:close/>
                <a:moveTo>
                  <a:pt x="304" y="250"/>
                </a:moveTo>
                <a:lnTo>
                  <a:pt x="270" y="232"/>
                </a:lnTo>
                <a:lnTo>
                  <a:pt x="294" y="216"/>
                </a:lnTo>
                <a:lnTo>
                  <a:pt x="304" y="250"/>
                </a:lnTo>
                <a:close/>
                <a:moveTo>
                  <a:pt x="294" y="136"/>
                </a:moveTo>
                <a:lnTo>
                  <a:pt x="290" y="122"/>
                </a:lnTo>
                <a:lnTo>
                  <a:pt x="316" y="122"/>
                </a:lnTo>
                <a:lnTo>
                  <a:pt x="294" y="13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spcFirstLastPara="1" wrap="square" lIns="68569" tIns="34275" rIns="68569" bIns="34275" anchor="t" anchorCtr="0">
            <a:no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endParaRPr sz="15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16345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 descr="Et bilde som inneholder gress, utendørs, sitter, plen&#10;&#10;Automatisk generert beskrivelse">
            <a:extLst>
              <a:ext uri="{FF2B5EF4-FFF2-40B4-BE49-F238E27FC236}">
                <a16:creationId xmlns:a16="http://schemas.microsoft.com/office/drawing/2014/main" id="{06E9789A-841A-FB4E-97E1-6207B23ED6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09006" y="0"/>
            <a:ext cx="13708253" cy="7704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1819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nIn.Jb_KZQ5laTgZ11D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gvQNjSOQZReXbqXL9xD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sR9GE2l_CdSmi.w8ugM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sR9GE2l_CdSmi.w8ugM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pnzWMz6vnpPurarcDoz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sR9GE2l_CdSmi.w8ugM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sR9GE2l_CdSmi.w8ugM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gysSKPVa3ifUhJOwgvY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K._WlZ7Yur_A5B2rz2.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pZFrbyIPzk9wSfNq9KT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h7WvUSOWrT4Kp49piO3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q7G8U76012bqXdJ_ZPV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aA9GFMbzNv.X_21Ca30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xOdYujeIZi_SeVtIu6M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23YY7gVuDN.YWb5EDq3EQ"/>
</p:tagLst>
</file>

<file path=ppt/theme/theme1.xml><?xml version="1.0" encoding="utf-8"?>
<a:theme xmlns:a="http://schemas.openxmlformats.org/drawingml/2006/main" name="1_Office-tema">
  <a:themeElements>
    <a:clrScheme name="Agder Energi ppt">
      <a:dk1>
        <a:srgbClr val="024D6E"/>
      </a:dk1>
      <a:lt1>
        <a:sysClr val="window" lastClr="FFFFFF"/>
      </a:lt1>
      <a:dk2>
        <a:srgbClr val="024D6E"/>
      </a:dk2>
      <a:lt2>
        <a:srgbClr val="FFFFFF"/>
      </a:lt2>
      <a:accent1>
        <a:srgbClr val="BEEAFE"/>
      </a:accent1>
      <a:accent2>
        <a:srgbClr val="F2F2F2"/>
      </a:accent2>
      <a:accent3>
        <a:srgbClr val="ADB9CA"/>
      </a:accent3>
      <a:accent4>
        <a:srgbClr val="8496B0"/>
      </a:accent4>
      <a:accent5>
        <a:srgbClr val="323F4F"/>
      </a:accent5>
      <a:accent6>
        <a:srgbClr val="222A35"/>
      </a:accent6>
      <a:hlink>
        <a:srgbClr val="0563C1"/>
      </a:hlink>
      <a:folHlink>
        <a:srgbClr val="954F72"/>
      </a:folHlink>
    </a:clrScheme>
    <a:fontScheme name="Agder Energi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>
            <a:alpha val="5000"/>
          </a:schemeClr>
        </a:solidFill>
        <a:ln>
          <a:solidFill>
            <a:schemeClr val="tx1">
              <a:alpha val="10000"/>
            </a:schemeClr>
          </a:solidFill>
        </a:ln>
        <a:effectLst/>
      </a:spPr>
      <a:bodyPr rtlCol="0" anchor="ctr"/>
      <a:lstStyle>
        <a:defPPr algn="ctr">
          <a:defRPr sz="1600" b="1" dirty="0" smtClean="0">
            <a:solidFill>
              <a:srgbClr val="024D6E"/>
            </a:solidFill>
            <a:latin typeface="Open Sans" charset="0"/>
            <a:ea typeface="Open Sans" charset="0"/>
            <a:cs typeface="Open Sans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GEV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1C5E45"/>
      </a:accent1>
      <a:accent2>
        <a:srgbClr val="60BA9B"/>
      </a:accent2>
      <a:accent3>
        <a:srgbClr val="EF6D25"/>
      </a:accent3>
      <a:accent4>
        <a:srgbClr val="EDA811"/>
      </a:accent4>
      <a:accent5>
        <a:srgbClr val="1DA986"/>
      </a:accent5>
      <a:accent6>
        <a:srgbClr val="87BAA5"/>
      </a:accent6>
      <a:hlink>
        <a:srgbClr val="1C8965"/>
      </a:hlink>
      <a:folHlink>
        <a:srgbClr val="533A4D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56</Words>
  <Application>Microsoft Office PowerPoint</Application>
  <PresentationFormat>Widescreen</PresentationFormat>
  <Paragraphs>46</Paragraphs>
  <Slides>11</Slides>
  <Notes>9</Notes>
  <HiddenSlides>0</HiddenSlides>
  <MMClips>0</MMClips>
  <ScaleCrop>false</ScaleCrop>
  <HeadingPairs>
    <vt:vector size="8" baseType="variant">
      <vt:variant>
        <vt:lpstr>Brukte skrifter</vt:lpstr>
      </vt:variant>
      <vt:variant>
        <vt:i4>9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1</vt:i4>
      </vt:variant>
    </vt:vector>
  </HeadingPairs>
  <TitlesOfParts>
    <vt:vector size="23" baseType="lpstr">
      <vt:lpstr>Arial</vt:lpstr>
      <vt:lpstr>Avenir Next LT Pro</vt:lpstr>
      <vt:lpstr>AvenirNext LT Pro</vt:lpstr>
      <vt:lpstr>Calibri</vt:lpstr>
      <vt:lpstr>Calibri Light</vt:lpstr>
      <vt:lpstr>Georgia</vt:lpstr>
      <vt:lpstr>Open Sans</vt:lpstr>
      <vt:lpstr>Segoe UI</vt:lpstr>
      <vt:lpstr>Segoe UI Semibold</vt:lpstr>
      <vt:lpstr>1_Office-tema</vt:lpstr>
      <vt:lpstr>Office-tema</vt:lpstr>
      <vt:lpstr>think-cell Slide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PowerPoint-presentasjon</vt:lpstr>
      <vt:lpstr>Hvor har Norge konkurransefortrinn?  </vt:lpstr>
      <vt:lpstr>PowerPoint-presentasjon</vt:lpstr>
      <vt:lpstr>PowerPoint-presentasjon</vt:lpstr>
      <vt:lpstr>PowerPoint-presentasjon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Vengen, Harald Eikenæs</dc:creator>
  <cp:lastModifiedBy>Vengen, Harald Eikenæs</cp:lastModifiedBy>
  <cp:revision>1</cp:revision>
  <dcterms:created xsi:type="dcterms:W3CDTF">2020-08-27T13:03:13Z</dcterms:created>
  <dcterms:modified xsi:type="dcterms:W3CDTF">2020-08-28T09:30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cc2f9b1-d250-444a-8f1c-4c0ba4b3dc14_Enabled">
    <vt:lpwstr>true</vt:lpwstr>
  </property>
  <property fmtid="{D5CDD505-2E9C-101B-9397-08002B2CF9AE}" pid="3" name="MSIP_Label_2cc2f9b1-d250-444a-8f1c-4c0ba4b3dc14_SetDate">
    <vt:lpwstr>2020-08-28T09:26:04Z</vt:lpwstr>
  </property>
  <property fmtid="{D5CDD505-2E9C-101B-9397-08002B2CF9AE}" pid="4" name="MSIP_Label_2cc2f9b1-d250-444a-8f1c-4c0ba4b3dc14_Method">
    <vt:lpwstr>Privileged</vt:lpwstr>
  </property>
  <property fmtid="{D5CDD505-2E9C-101B-9397-08002B2CF9AE}" pid="5" name="MSIP_Label_2cc2f9b1-d250-444a-8f1c-4c0ba4b3dc14_Name">
    <vt:lpwstr>Public</vt:lpwstr>
  </property>
  <property fmtid="{D5CDD505-2E9C-101B-9397-08002B2CF9AE}" pid="6" name="MSIP_Label_2cc2f9b1-d250-444a-8f1c-4c0ba4b3dc14_SiteId">
    <vt:lpwstr>35de1f6f-7463-4230-b310-c6161e75518a</vt:lpwstr>
  </property>
  <property fmtid="{D5CDD505-2E9C-101B-9397-08002B2CF9AE}" pid="7" name="MSIP_Label_2cc2f9b1-d250-444a-8f1c-4c0ba4b3dc14_ActionId">
    <vt:lpwstr>c754664a-413a-42c6-9a6e-bb8a27070be8</vt:lpwstr>
  </property>
  <property fmtid="{D5CDD505-2E9C-101B-9397-08002B2CF9AE}" pid="8" name="MSIP_Label_2cc2f9b1-d250-444a-8f1c-4c0ba4b3dc14_ContentBits">
    <vt:lpwstr>0</vt:lpwstr>
  </property>
</Properties>
</file>